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av" ContentType="audio/wav"/>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 id="2147483684" r:id="rId3"/>
    <p:sldMasterId id="2147483696" r:id="rId4"/>
    <p:sldMasterId id="2147483708" r:id="rId5"/>
  </p:sldMasterIdLst>
  <p:notesMasterIdLst>
    <p:notesMasterId r:id="rId34"/>
  </p:notesMasterIdLst>
  <p:sldIdLst>
    <p:sldId id="1793" r:id="rId6"/>
    <p:sldId id="1797" r:id="rId7"/>
    <p:sldId id="1796" r:id="rId8"/>
    <p:sldId id="1798" r:id="rId9"/>
    <p:sldId id="1799" r:id="rId10"/>
    <p:sldId id="1800" r:id="rId11"/>
    <p:sldId id="1773" r:id="rId12"/>
    <p:sldId id="1774" r:id="rId13"/>
    <p:sldId id="1801" r:id="rId14"/>
    <p:sldId id="1775" r:id="rId15"/>
    <p:sldId id="1776" r:id="rId16"/>
    <p:sldId id="1714" r:id="rId17"/>
    <p:sldId id="1777" r:id="rId18"/>
    <p:sldId id="1778" r:id="rId19"/>
    <p:sldId id="1795" r:id="rId20"/>
    <p:sldId id="1779" r:id="rId21"/>
    <p:sldId id="1780" r:id="rId22"/>
    <p:sldId id="1781" r:id="rId23"/>
    <p:sldId id="1782" r:id="rId24"/>
    <p:sldId id="1783" r:id="rId25"/>
    <p:sldId id="1784" r:id="rId26"/>
    <p:sldId id="1658" r:id="rId27"/>
    <p:sldId id="1785" r:id="rId28"/>
    <p:sldId id="1786" r:id="rId29"/>
    <p:sldId id="1787" r:id="rId30"/>
    <p:sldId id="1788" r:id="rId31"/>
    <p:sldId id="1789" r:id="rId32"/>
    <p:sldId id="1790"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5637"/>
    <p:restoredTop sz="96208"/>
  </p:normalViewPr>
  <p:slideViewPr>
    <p:cSldViewPr snapToGrid="0">
      <p:cViewPr varScale="1">
        <p:scale>
          <a:sx n="96" d="100"/>
          <a:sy n="96" d="100"/>
        </p:scale>
        <p:origin x="200" y="776"/>
      </p:cViewPr>
      <p:guideLst/>
    </p:cSldViewPr>
  </p:slideViewPr>
  <p:notesTextViewPr>
    <p:cViewPr>
      <p:scale>
        <a:sx n="1" d="1"/>
        <a:sy n="1" d="1"/>
      </p:scale>
      <p:origin x="0" y="0"/>
    </p:cViewPr>
  </p:notesTextViewPr>
  <p:sorterViewPr>
    <p:cViewPr>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1025AEE-CC79-404E-9CAA-4E9EAB39FF3A}"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4367A5AE-5DB3-4FD0-A2DC-5898F3378C6D}">
      <dgm:prSet/>
      <dgm:spPr/>
      <dgm:t>
        <a:bodyPr/>
        <a:lstStyle/>
        <a:p>
          <a:r>
            <a:rPr lang="en-US" dirty="0"/>
            <a:t>Laws Requiring Coverage</a:t>
          </a:r>
        </a:p>
      </dgm:t>
    </dgm:pt>
    <dgm:pt modelId="{7D7138A6-C45F-4DDA-B6BC-859CE4FF30DE}" type="parTrans" cxnId="{CC632902-13C5-4042-8C2E-6EB78B9CB4FE}">
      <dgm:prSet/>
      <dgm:spPr/>
      <dgm:t>
        <a:bodyPr/>
        <a:lstStyle/>
        <a:p>
          <a:endParaRPr lang="en-US"/>
        </a:p>
      </dgm:t>
    </dgm:pt>
    <dgm:pt modelId="{E3306E13-C433-4570-811B-D8CB7E8D2779}" type="sibTrans" cxnId="{CC632902-13C5-4042-8C2E-6EB78B9CB4FE}">
      <dgm:prSet/>
      <dgm:spPr/>
      <dgm:t>
        <a:bodyPr/>
        <a:lstStyle/>
        <a:p>
          <a:endParaRPr lang="en-US"/>
        </a:p>
      </dgm:t>
    </dgm:pt>
    <dgm:pt modelId="{027A0136-5109-45A1-8A8F-65BE45318D25}">
      <dgm:prSet/>
      <dgm:spPr/>
      <dgm:t>
        <a:bodyPr/>
        <a:lstStyle/>
        <a:p>
          <a:r>
            <a:rPr lang="en-US" dirty="0"/>
            <a:t>California Senate Bill 855</a:t>
          </a:r>
        </a:p>
      </dgm:t>
    </dgm:pt>
    <dgm:pt modelId="{0C1930DA-E93F-4589-8ED1-5888BCB4408D}" type="parTrans" cxnId="{F212AE84-4AA3-4328-9074-F68BBB04FADE}">
      <dgm:prSet/>
      <dgm:spPr/>
      <dgm:t>
        <a:bodyPr/>
        <a:lstStyle/>
        <a:p>
          <a:endParaRPr lang="en-US"/>
        </a:p>
      </dgm:t>
    </dgm:pt>
    <dgm:pt modelId="{052E2938-BCC2-4105-A9F7-C82322304DEE}" type="sibTrans" cxnId="{F212AE84-4AA3-4328-9074-F68BBB04FADE}">
      <dgm:prSet/>
      <dgm:spPr/>
      <dgm:t>
        <a:bodyPr/>
        <a:lstStyle/>
        <a:p>
          <a:endParaRPr lang="en-US"/>
        </a:p>
      </dgm:t>
    </dgm:pt>
    <dgm:pt modelId="{1E821B14-9C2D-47E0-9286-786F07B80523}">
      <dgm:prSet/>
      <dgm:spPr/>
      <dgm:t>
        <a:bodyPr/>
        <a:lstStyle/>
        <a:p>
          <a:r>
            <a:rPr lang="en-US"/>
            <a:t>California DOI Regulations</a:t>
          </a:r>
        </a:p>
      </dgm:t>
    </dgm:pt>
    <dgm:pt modelId="{E9EFF325-E846-4A55-B8B7-9423E683ABBD}" type="parTrans" cxnId="{BB31F68C-15F7-4ED3-9EA2-A21FB27D132C}">
      <dgm:prSet/>
      <dgm:spPr/>
      <dgm:t>
        <a:bodyPr/>
        <a:lstStyle/>
        <a:p>
          <a:endParaRPr lang="en-US"/>
        </a:p>
      </dgm:t>
    </dgm:pt>
    <dgm:pt modelId="{E870AB61-81EA-42B0-B573-28CC7E55F524}" type="sibTrans" cxnId="{BB31F68C-15F7-4ED3-9EA2-A21FB27D132C}">
      <dgm:prSet/>
      <dgm:spPr/>
      <dgm:t>
        <a:bodyPr/>
        <a:lstStyle/>
        <a:p>
          <a:endParaRPr lang="en-US"/>
        </a:p>
      </dgm:t>
    </dgm:pt>
    <dgm:pt modelId="{D23B71BE-1015-8649-9B2B-143F50B18B8C}">
      <dgm:prSet/>
      <dgm:spPr/>
      <dgm:t>
        <a:bodyPr/>
        <a:lstStyle/>
        <a:p>
          <a:r>
            <a:rPr lang="en-US" dirty="0"/>
            <a:t>Wit v. United Healthcare</a:t>
          </a:r>
        </a:p>
      </dgm:t>
    </dgm:pt>
    <dgm:pt modelId="{B4E1187E-825E-B44F-9926-4E08DA8F0465}" type="parTrans" cxnId="{562D37FD-0B31-C943-A521-808BAC67DCEA}">
      <dgm:prSet/>
      <dgm:spPr/>
      <dgm:t>
        <a:bodyPr/>
        <a:lstStyle/>
        <a:p>
          <a:endParaRPr lang="en-US"/>
        </a:p>
      </dgm:t>
    </dgm:pt>
    <dgm:pt modelId="{C7FABA08-2F9E-0542-A951-17C6443E8CF4}" type="sibTrans" cxnId="{562D37FD-0B31-C943-A521-808BAC67DCEA}">
      <dgm:prSet/>
      <dgm:spPr/>
      <dgm:t>
        <a:bodyPr/>
        <a:lstStyle/>
        <a:p>
          <a:endParaRPr lang="en-US"/>
        </a:p>
      </dgm:t>
    </dgm:pt>
    <dgm:pt modelId="{9E88DA8E-7AD7-504D-8AF1-8F3750618AA3}" type="pres">
      <dgm:prSet presAssocID="{D1025AEE-CC79-404E-9CAA-4E9EAB39FF3A}" presName="linear" presStyleCnt="0">
        <dgm:presLayoutVars>
          <dgm:animLvl val="lvl"/>
          <dgm:resizeHandles val="exact"/>
        </dgm:presLayoutVars>
      </dgm:prSet>
      <dgm:spPr/>
    </dgm:pt>
    <dgm:pt modelId="{0497B3EE-BE5D-0D42-B8EE-BB5D43AE4A7A}" type="pres">
      <dgm:prSet presAssocID="{4367A5AE-5DB3-4FD0-A2DC-5898F3378C6D}" presName="parentText" presStyleLbl="node1" presStyleIdx="0" presStyleCnt="4" custLinFactY="-116576" custLinFactNeighborX="1397" custLinFactNeighborY="-200000">
        <dgm:presLayoutVars>
          <dgm:chMax val="0"/>
          <dgm:bulletEnabled val="1"/>
        </dgm:presLayoutVars>
      </dgm:prSet>
      <dgm:spPr/>
    </dgm:pt>
    <dgm:pt modelId="{5C370FD9-6B65-AA47-8921-BBF15297B707}" type="pres">
      <dgm:prSet presAssocID="{E3306E13-C433-4570-811B-D8CB7E8D2779}" presName="spacer" presStyleCnt="0"/>
      <dgm:spPr/>
    </dgm:pt>
    <dgm:pt modelId="{E76B0379-45E9-EE42-907D-851C503553A8}" type="pres">
      <dgm:prSet presAssocID="{D23B71BE-1015-8649-9B2B-143F50B18B8C}" presName="parentText" presStyleLbl="node1" presStyleIdx="1" presStyleCnt="4" custLinFactY="-43435" custLinFactNeighborX="-1034" custLinFactNeighborY="-100000">
        <dgm:presLayoutVars>
          <dgm:chMax val="0"/>
          <dgm:bulletEnabled val="1"/>
        </dgm:presLayoutVars>
      </dgm:prSet>
      <dgm:spPr/>
    </dgm:pt>
    <dgm:pt modelId="{A29AA8E3-ECEF-DC40-8C6C-3F5904C2531C}" type="pres">
      <dgm:prSet presAssocID="{C7FABA08-2F9E-0542-A951-17C6443E8CF4}" presName="spacer" presStyleCnt="0"/>
      <dgm:spPr/>
    </dgm:pt>
    <dgm:pt modelId="{FD2FC5C5-004E-F54B-BBCB-D79AFD7571AB}" type="pres">
      <dgm:prSet presAssocID="{027A0136-5109-45A1-8A8F-65BE45318D25}" presName="parentText" presStyleLbl="node1" presStyleIdx="2" presStyleCnt="4" custLinFactY="29032" custLinFactNeighborY="100000">
        <dgm:presLayoutVars>
          <dgm:chMax val="0"/>
          <dgm:bulletEnabled val="1"/>
        </dgm:presLayoutVars>
      </dgm:prSet>
      <dgm:spPr/>
    </dgm:pt>
    <dgm:pt modelId="{09837DDA-E850-0640-AFD1-D4E453123FEB}" type="pres">
      <dgm:prSet presAssocID="{052E2938-BCC2-4105-A9F7-C82322304DEE}" presName="spacer" presStyleCnt="0"/>
      <dgm:spPr/>
    </dgm:pt>
    <dgm:pt modelId="{808BA895-CBF5-324C-B5C1-DADFFC7CE006}" type="pres">
      <dgm:prSet presAssocID="{1E821B14-9C2D-47E0-9286-786F07B80523}" presName="parentText" presStyleLbl="node1" presStyleIdx="3" presStyleCnt="4" custLinFactY="116450" custLinFactNeighborX="-459" custLinFactNeighborY="200000">
        <dgm:presLayoutVars>
          <dgm:chMax val="0"/>
          <dgm:bulletEnabled val="1"/>
        </dgm:presLayoutVars>
      </dgm:prSet>
      <dgm:spPr/>
    </dgm:pt>
  </dgm:ptLst>
  <dgm:cxnLst>
    <dgm:cxn modelId="{CC632902-13C5-4042-8C2E-6EB78B9CB4FE}" srcId="{D1025AEE-CC79-404E-9CAA-4E9EAB39FF3A}" destId="{4367A5AE-5DB3-4FD0-A2DC-5898F3378C6D}" srcOrd="0" destOrd="0" parTransId="{7D7138A6-C45F-4DDA-B6BC-859CE4FF30DE}" sibTransId="{E3306E13-C433-4570-811B-D8CB7E8D2779}"/>
    <dgm:cxn modelId="{42157C17-2861-8141-A178-85D12FA977C4}" type="presOf" srcId="{4367A5AE-5DB3-4FD0-A2DC-5898F3378C6D}" destId="{0497B3EE-BE5D-0D42-B8EE-BB5D43AE4A7A}" srcOrd="0" destOrd="0" presId="urn:microsoft.com/office/officeart/2005/8/layout/vList2"/>
    <dgm:cxn modelId="{D7FB8D17-C807-D848-8B9F-16A1435668A6}" type="presOf" srcId="{027A0136-5109-45A1-8A8F-65BE45318D25}" destId="{FD2FC5C5-004E-F54B-BBCB-D79AFD7571AB}" srcOrd="0" destOrd="0" presId="urn:microsoft.com/office/officeart/2005/8/layout/vList2"/>
    <dgm:cxn modelId="{D6599B1E-1D31-834F-BC75-E1F0C85B7A62}" type="presOf" srcId="{D1025AEE-CC79-404E-9CAA-4E9EAB39FF3A}" destId="{9E88DA8E-7AD7-504D-8AF1-8F3750618AA3}" srcOrd="0" destOrd="0" presId="urn:microsoft.com/office/officeart/2005/8/layout/vList2"/>
    <dgm:cxn modelId="{505B9479-4DF3-5E46-9468-A4BFF2CA2AD2}" type="presOf" srcId="{D23B71BE-1015-8649-9B2B-143F50B18B8C}" destId="{E76B0379-45E9-EE42-907D-851C503553A8}" srcOrd="0" destOrd="0" presId="urn:microsoft.com/office/officeart/2005/8/layout/vList2"/>
    <dgm:cxn modelId="{4DCF5F84-620F-C64F-96F9-BBF6694C6383}" type="presOf" srcId="{1E821B14-9C2D-47E0-9286-786F07B80523}" destId="{808BA895-CBF5-324C-B5C1-DADFFC7CE006}" srcOrd="0" destOrd="0" presId="urn:microsoft.com/office/officeart/2005/8/layout/vList2"/>
    <dgm:cxn modelId="{F212AE84-4AA3-4328-9074-F68BBB04FADE}" srcId="{D1025AEE-CC79-404E-9CAA-4E9EAB39FF3A}" destId="{027A0136-5109-45A1-8A8F-65BE45318D25}" srcOrd="2" destOrd="0" parTransId="{0C1930DA-E93F-4589-8ED1-5888BCB4408D}" sibTransId="{052E2938-BCC2-4105-A9F7-C82322304DEE}"/>
    <dgm:cxn modelId="{BB31F68C-15F7-4ED3-9EA2-A21FB27D132C}" srcId="{D1025AEE-CC79-404E-9CAA-4E9EAB39FF3A}" destId="{1E821B14-9C2D-47E0-9286-786F07B80523}" srcOrd="3" destOrd="0" parTransId="{E9EFF325-E846-4A55-B8B7-9423E683ABBD}" sibTransId="{E870AB61-81EA-42B0-B573-28CC7E55F524}"/>
    <dgm:cxn modelId="{562D37FD-0B31-C943-A521-808BAC67DCEA}" srcId="{D1025AEE-CC79-404E-9CAA-4E9EAB39FF3A}" destId="{D23B71BE-1015-8649-9B2B-143F50B18B8C}" srcOrd="1" destOrd="0" parTransId="{B4E1187E-825E-B44F-9926-4E08DA8F0465}" sibTransId="{C7FABA08-2F9E-0542-A951-17C6443E8CF4}"/>
    <dgm:cxn modelId="{AF20D72D-E1A7-8149-AEC5-89798CE3AE2E}" type="presParOf" srcId="{9E88DA8E-7AD7-504D-8AF1-8F3750618AA3}" destId="{0497B3EE-BE5D-0D42-B8EE-BB5D43AE4A7A}" srcOrd="0" destOrd="0" presId="urn:microsoft.com/office/officeart/2005/8/layout/vList2"/>
    <dgm:cxn modelId="{84A81506-E57D-2F47-A42F-78D81509AEE6}" type="presParOf" srcId="{9E88DA8E-7AD7-504D-8AF1-8F3750618AA3}" destId="{5C370FD9-6B65-AA47-8921-BBF15297B707}" srcOrd="1" destOrd="0" presId="urn:microsoft.com/office/officeart/2005/8/layout/vList2"/>
    <dgm:cxn modelId="{8ED7D8E7-3C4A-604D-979B-41B65237BFDE}" type="presParOf" srcId="{9E88DA8E-7AD7-504D-8AF1-8F3750618AA3}" destId="{E76B0379-45E9-EE42-907D-851C503553A8}" srcOrd="2" destOrd="0" presId="urn:microsoft.com/office/officeart/2005/8/layout/vList2"/>
    <dgm:cxn modelId="{79640563-A04D-9641-9E4F-25D808A5AA67}" type="presParOf" srcId="{9E88DA8E-7AD7-504D-8AF1-8F3750618AA3}" destId="{A29AA8E3-ECEF-DC40-8C6C-3F5904C2531C}" srcOrd="3" destOrd="0" presId="urn:microsoft.com/office/officeart/2005/8/layout/vList2"/>
    <dgm:cxn modelId="{26278EDC-F313-A642-A526-BA805B9C0E42}" type="presParOf" srcId="{9E88DA8E-7AD7-504D-8AF1-8F3750618AA3}" destId="{FD2FC5C5-004E-F54B-BBCB-D79AFD7571AB}" srcOrd="4" destOrd="0" presId="urn:microsoft.com/office/officeart/2005/8/layout/vList2"/>
    <dgm:cxn modelId="{284F59DF-7166-1840-BC07-89A6F8B2D61F}" type="presParOf" srcId="{9E88DA8E-7AD7-504D-8AF1-8F3750618AA3}" destId="{09837DDA-E850-0640-AFD1-D4E453123FEB}" srcOrd="5" destOrd="0" presId="urn:microsoft.com/office/officeart/2005/8/layout/vList2"/>
    <dgm:cxn modelId="{1E1AE4B6-CDA2-F643-BF61-7DED1C982BF2}" type="presParOf" srcId="{9E88DA8E-7AD7-504D-8AF1-8F3750618AA3}" destId="{808BA895-CBF5-324C-B5C1-DADFFC7CE006}"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1025AEE-CC79-404E-9CAA-4E9EAB39FF3A}"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4367A5AE-5DB3-4FD0-A2DC-5898F3378C6D}">
      <dgm:prSet/>
      <dgm:spPr/>
      <dgm:t>
        <a:bodyPr/>
        <a:lstStyle/>
        <a:p>
          <a:r>
            <a:rPr lang="en-US" dirty="0"/>
            <a:t>Laws Requiring Coverage</a:t>
          </a:r>
        </a:p>
      </dgm:t>
    </dgm:pt>
    <dgm:pt modelId="{7D7138A6-C45F-4DDA-B6BC-859CE4FF30DE}" type="parTrans" cxnId="{CC632902-13C5-4042-8C2E-6EB78B9CB4FE}">
      <dgm:prSet/>
      <dgm:spPr/>
      <dgm:t>
        <a:bodyPr/>
        <a:lstStyle/>
        <a:p>
          <a:endParaRPr lang="en-US"/>
        </a:p>
      </dgm:t>
    </dgm:pt>
    <dgm:pt modelId="{E3306E13-C433-4570-811B-D8CB7E8D2779}" type="sibTrans" cxnId="{CC632902-13C5-4042-8C2E-6EB78B9CB4FE}">
      <dgm:prSet/>
      <dgm:spPr/>
      <dgm:t>
        <a:bodyPr/>
        <a:lstStyle/>
        <a:p>
          <a:endParaRPr lang="en-US"/>
        </a:p>
      </dgm:t>
    </dgm:pt>
    <dgm:pt modelId="{027A0136-5109-45A1-8A8F-65BE45318D25}">
      <dgm:prSet/>
      <dgm:spPr/>
      <dgm:t>
        <a:bodyPr/>
        <a:lstStyle/>
        <a:p>
          <a:r>
            <a:rPr lang="en-US" dirty="0"/>
            <a:t>California Senate Bill 855</a:t>
          </a:r>
        </a:p>
      </dgm:t>
    </dgm:pt>
    <dgm:pt modelId="{0C1930DA-E93F-4589-8ED1-5888BCB4408D}" type="parTrans" cxnId="{F212AE84-4AA3-4328-9074-F68BBB04FADE}">
      <dgm:prSet/>
      <dgm:spPr/>
      <dgm:t>
        <a:bodyPr/>
        <a:lstStyle/>
        <a:p>
          <a:endParaRPr lang="en-US"/>
        </a:p>
      </dgm:t>
    </dgm:pt>
    <dgm:pt modelId="{052E2938-BCC2-4105-A9F7-C82322304DEE}" type="sibTrans" cxnId="{F212AE84-4AA3-4328-9074-F68BBB04FADE}">
      <dgm:prSet/>
      <dgm:spPr/>
      <dgm:t>
        <a:bodyPr/>
        <a:lstStyle/>
        <a:p>
          <a:endParaRPr lang="en-US"/>
        </a:p>
      </dgm:t>
    </dgm:pt>
    <dgm:pt modelId="{1E821B14-9C2D-47E0-9286-786F07B80523}">
      <dgm:prSet/>
      <dgm:spPr/>
      <dgm:t>
        <a:bodyPr/>
        <a:lstStyle/>
        <a:p>
          <a:r>
            <a:rPr lang="en-US"/>
            <a:t>California DOI Regulations</a:t>
          </a:r>
        </a:p>
      </dgm:t>
    </dgm:pt>
    <dgm:pt modelId="{E9EFF325-E846-4A55-B8B7-9423E683ABBD}" type="parTrans" cxnId="{BB31F68C-15F7-4ED3-9EA2-A21FB27D132C}">
      <dgm:prSet/>
      <dgm:spPr/>
      <dgm:t>
        <a:bodyPr/>
        <a:lstStyle/>
        <a:p>
          <a:endParaRPr lang="en-US"/>
        </a:p>
      </dgm:t>
    </dgm:pt>
    <dgm:pt modelId="{E870AB61-81EA-42B0-B573-28CC7E55F524}" type="sibTrans" cxnId="{BB31F68C-15F7-4ED3-9EA2-A21FB27D132C}">
      <dgm:prSet/>
      <dgm:spPr/>
      <dgm:t>
        <a:bodyPr/>
        <a:lstStyle/>
        <a:p>
          <a:endParaRPr lang="en-US"/>
        </a:p>
      </dgm:t>
    </dgm:pt>
    <dgm:pt modelId="{D23B71BE-1015-8649-9B2B-143F50B18B8C}">
      <dgm:prSet/>
      <dgm:spPr/>
      <dgm:t>
        <a:bodyPr/>
        <a:lstStyle/>
        <a:p>
          <a:r>
            <a:rPr lang="en-US" dirty="0"/>
            <a:t>Wit v. United Healthcare</a:t>
          </a:r>
        </a:p>
      </dgm:t>
    </dgm:pt>
    <dgm:pt modelId="{B4E1187E-825E-B44F-9926-4E08DA8F0465}" type="parTrans" cxnId="{562D37FD-0B31-C943-A521-808BAC67DCEA}">
      <dgm:prSet/>
      <dgm:spPr/>
      <dgm:t>
        <a:bodyPr/>
        <a:lstStyle/>
        <a:p>
          <a:endParaRPr lang="en-US"/>
        </a:p>
      </dgm:t>
    </dgm:pt>
    <dgm:pt modelId="{C7FABA08-2F9E-0542-A951-17C6443E8CF4}" type="sibTrans" cxnId="{562D37FD-0B31-C943-A521-808BAC67DCEA}">
      <dgm:prSet/>
      <dgm:spPr/>
      <dgm:t>
        <a:bodyPr/>
        <a:lstStyle/>
        <a:p>
          <a:endParaRPr lang="en-US"/>
        </a:p>
      </dgm:t>
    </dgm:pt>
    <dgm:pt modelId="{9E88DA8E-7AD7-504D-8AF1-8F3750618AA3}" type="pres">
      <dgm:prSet presAssocID="{D1025AEE-CC79-404E-9CAA-4E9EAB39FF3A}" presName="linear" presStyleCnt="0">
        <dgm:presLayoutVars>
          <dgm:animLvl val="lvl"/>
          <dgm:resizeHandles val="exact"/>
        </dgm:presLayoutVars>
      </dgm:prSet>
      <dgm:spPr/>
    </dgm:pt>
    <dgm:pt modelId="{0497B3EE-BE5D-0D42-B8EE-BB5D43AE4A7A}" type="pres">
      <dgm:prSet presAssocID="{4367A5AE-5DB3-4FD0-A2DC-5898F3378C6D}" presName="parentText" presStyleLbl="node1" presStyleIdx="0" presStyleCnt="4" custLinFactY="-116576" custLinFactNeighborX="1397" custLinFactNeighborY="-200000">
        <dgm:presLayoutVars>
          <dgm:chMax val="0"/>
          <dgm:bulletEnabled val="1"/>
        </dgm:presLayoutVars>
      </dgm:prSet>
      <dgm:spPr/>
    </dgm:pt>
    <dgm:pt modelId="{5C370FD9-6B65-AA47-8921-BBF15297B707}" type="pres">
      <dgm:prSet presAssocID="{E3306E13-C433-4570-811B-D8CB7E8D2779}" presName="spacer" presStyleCnt="0"/>
      <dgm:spPr/>
    </dgm:pt>
    <dgm:pt modelId="{E76B0379-45E9-EE42-907D-851C503553A8}" type="pres">
      <dgm:prSet presAssocID="{D23B71BE-1015-8649-9B2B-143F50B18B8C}" presName="parentText" presStyleLbl="node1" presStyleIdx="1" presStyleCnt="4" custLinFactY="-43435" custLinFactNeighborX="-1034" custLinFactNeighborY="-100000">
        <dgm:presLayoutVars>
          <dgm:chMax val="0"/>
          <dgm:bulletEnabled val="1"/>
        </dgm:presLayoutVars>
      </dgm:prSet>
      <dgm:spPr/>
    </dgm:pt>
    <dgm:pt modelId="{A29AA8E3-ECEF-DC40-8C6C-3F5904C2531C}" type="pres">
      <dgm:prSet presAssocID="{C7FABA08-2F9E-0542-A951-17C6443E8CF4}" presName="spacer" presStyleCnt="0"/>
      <dgm:spPr/>
    </dgm:pt>
    <dgm:pt modelId="{FD2FC5C5-004E-F54B-BBCB-D79AFD7571AB}" type="pres">
      <dgm:prSet presAssocID="{027A0136-5109-45A1-8A8F-65BE45318D25}" presName="parentText" presStyleLbl="node1" presStyleIdx="2" presStyleCnt="4" custLinFactY="29032" custLinFactNeighborY="100000">
        <dgm:presLayoutVars>
          <dgm:chMax val="0"/>
          <dgm:bulletEnabled val="1"/>
        </dgm:presLayoutVars>
      </dgm:prSet>
      <dgm:spPr/>
    </dgm:pt>
    <dgm:pt modelId="{09837DDA-E850-0640-AFD1-D4E453123FEB}" type="pres">
      <dgm:prSet presAssocID="{052E2938-BCC2-4105-A9F7-C82322304DEE}" presName="spacer" presStyleCnt="0"/>
      <dgm:spPr/>
    </dgm:pt>
    <dgm:pt modelId="{808BA895-CBF5-324C-B5C1-DADFFC7CE006}" type="pres">
      <dgm:prSet presAssocID="{1E821B14-9C2D-47E0-9286-786F07B80523}" presName="parentText" presStyleLbl="node1" presStyleIdx="3" presStyleCnt="4" custLinFactY="116450" custLinFactNeighborX="-459" custLinFactNeighborY="200000">
        <dgm:presLayoutVars>
          <dgm:chMax val="0"/>
          <dgm:bulletEnabled val="1"/>
        </dgm:presLayoutVars>
      </dgm:prSet>
      <dgm:spPr/>
    </dgm:pt>
  </dgm:ptLst>
  <dgm:cxnLst>
    <dgm:cxn modelId="{CC632902-13C5-4042-8C2E-6EB78B9CB4FE}" srcId="{D1025AEE-CC79-404E-9CAA-4E9EAB39FF3A}" destId="{4367A5AE-5DB3-4FD0-A2DC-5898F3378C6D}" srcOrd="0" destOrd="0" parTransId="{7D7138A6-C45F-4DDA-B6BC-859CE4FF30DE}" sibTransId="{E3306E13-C433-4570-811B-D8CB7E8D2779}"/>
    <dgm:cxn modelId="{42157C17-2861-8141-A178-85D12FA977C4}" type="presOf" srcId="{4367A5AE-5DB3-4FD0-A2DC-5898F3378C6D}" destId="{0497B3EE-BE5D-0D42-B8EE-BB5D43AE4A7A}" srcOrd="0" destOrd="0" presId="urn:microsoft.com/office/officeart/2005/8/layout/vList2"/>
    <dgm:cxn modelId="{D7FB8D17-C807-D848-8B9F-16A1435668A6}" type="presOf" srcId="{027A0136-5109-45A1-8A8F-65BE45318D25}" destId="{FD2FC5C5-004E-F54B-BBCB-D79AFD7571AB}" srcOrd="0" destOrd="0" presId="urn:microsoft.com/office/officeart/2005/8/layout/vList2"/>
    <dgm:cxn modelId="{D6599B1E-1D31-834F-BC75-E1F0C85B7A62}" type="presOf" srcId="{D1025AEE-CC79-404E-9CAA-4E9EAB39FF3A}" destId="{9E88DA8E-7AD7-504D-8AF1-8F3750618AA3}" srcOrd="0" destOrd="0" presId="urn:microsoft.com/office/officeart/2005/8/layout/vList2"/>
    <dgm:cxn modelId="{505B9479-4DF3-5E46-9468-A4BFF2CA2AD2}" type="presOf" srcId="{D23B71BE-1015-8649-9B2B-143F50B18B8C}" destId="{E76B0379-45E9-EE42-907D-851C503553A8}" srcOrd="0" destOrd="0" presId="urn:microsoft.com/office/officeart/2005/8/layout/vList2"/>
    <dgm:cxn modelId="{4DCF5F84-620F-C64F-96F9-BBF6694C6383}" type="presOf" srcId="{1E821B14-9C2D-47E0-9286-786F07B80523}" destId="{808BA895-CBF5-324C-B5C1-DADFFC7CE006}" srcOrd="0" destOrd="0" presId="urn:microsoft.com/office/officeart/2005/8/layout/vList2"/>
    <dgm:cxn modelId="{F212AE84-4AA3-4328-9074-F68BBB04FADE}" srcId="{D1025AEE-CC79-404E-9CAA-4E9EAB39FF3A}" destId="{027A0136-5109-45A1-8A8F-65BE45318D25}" srcOrd="2" destOrd="0" parTransId="{0C1930DA-E93F-4589-8ED1-5888BCB4408D}" sibTransId="{052E2938-BCC2-4105-A9F7-C82322304DEE}"/>
    <dgm:cxn modelId="{BB31F68C-15F7-4ED3-9EA2-A21FB27D132C}" srcId="{D1025AEE-CC79-404E-9CAA-4E9EAB39FF3A}" destId="{1E821B14-9C2D-47E0-9286-786F07B80523}" srcOrd="3" destOrd="0" parTransId="{E9EFF325-E846-4A55-B8B7-9423E683ABBD}" sibTransId="{E870AB61-81EA-42B0-B573-28CC7E55F524}"/>
    <dgm:cxn modelId="{562D37FD-0B31-C943-A521-808BAC67DCEA}" srcId="{D1025AEE-CC79-404E-9CAA-4E9EAB39FF3A}" destId="{D23B71BE-1015-8649-9B2B-143F50B18B8C}" srcOrd="1" destOrd="0" parTransId="{B4E1187E-825E-B44F-9926-4E08DA8F0465}" sibTransId="{C7FABA08-2F9E-0542-A951-17C6443E8CF4}"/>
    <dgm:cxn modelId="{AF20D72D-E1A7-8149-AEC5-89798CE3AE2E}" type="presParOf" srcId="{9E88DA8E-7AD7-504D-8AF1-8F3750618AA3}" destId="{0497B3EE-BE5D-0D42-B8EE-BB5D43AE4A7A}" srcOrd="0" destOrd="0" presId="urn:microsoft.com/office/officeart/2005/8/layout/vList2"/>
    <dgm:cxn modelId="{84A81506-E57D-2F47-A42F-78D81509AEE6}" type="presParOf" srcId="{9E88DA8E-7AD7-504D-8AF1-8F3750618AA3}" destId="{5C370FD9-6B65-AA47-8921-BBF15297B707}" srcOrd="1" destOrd="0" presId="urn:microsoft.com/office/officeart/2005/8/layout/vList2"/>
    <dgm:cxn modelId="{8ED7D8E7-3C4A-604D-979B-41B65237BFDE}" type="presParOf" srcId="{9E88DA8E-7AD7-504D-8AF1-8F3750618AA3}" destId="{E76B0379-45E9-EE42-907D-851C503553A8}" srcOrd="2" destOrd="0" presId="urn:microsoft.com/office/officeart/2005/8/layout/vList2"/>
    <dgm:cxn modelId="{79640563-A04D-9641-9E4F-25D808A5AA67}" type="presParOf" srcId="{9E88DA8E-7AD7-504D-8AF1-8F3750618AA3}" destId="{A29AA8E3-ECEF-DC40-8C6C-3F5904C2531C}" srcOrd="3" destOrd="0" presId="urn:microsoft.com/office/officeart/2005/8/layout/vList2"/>
    <dgm:cxn modelId="{26278EDC-F313-A642-A526-BA805B9C0E42}" type="presParOf" srcId="{9E88DA8E-7AD7-504D-8AF1-8F3750618AA3}" destId="{FD2FC5C5-004E-F54B-BBCB-D79AFD7571AB}" srcOrd="4" destOrd="0" presId="urn:microsoft.com/office/officeart/2005/8/layout/vList2"/>
    <dgm:cxn modelId="{284F59DF-7166-1840-BC07-89A6F8B2D61F}" type="presParOf" srcId="{9E88DA8E-7AD7-504D-8AF1-8F3750618AA3}" destId="{09837DDA-E850-0640-AFD1-D4E453123FEB}" srcOrd="5" destOrd="0" presId="urn:microsoft.com/office/officeart/2005/8/layout/vList2"/>
    <dgm:cxn modelId="{1E1AE4B6-CDA2-F643-BF61-7DED1C982BF2}" type="presParOf" srcId="{9E88DA8E-7AD7-504D-8AF1-8F3750618AA3}" destId="{808BA895-CBF5-324C-B5C1-DADFFC7CE006}"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1025AEE-CC79-404E-9CAA-4E9EAB39FF3A}"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4367A5AE-5DB3-4FD0-A2DC-5898F3378C6D}">
      <dgm:prSet/>
      <dgm:spPr/>
      <dgm:t>
        <a:bodyPr/>
        <a:lstStyle/>
        <a:p>
          <a:r>
            <a:rPr lang="en-US" dirty="0"/>
            <a:t>Laws Requiring Coverage</a:t>
          </a:r>
        </a:p>
      </dgm:t>
    </dgm:pt>
    <dgm:pt modelId="{7D7138A6-C45F-4DDA-B6BC-859CE4FF30DE}" type="parTrans" cxnId="{CC632902-13C5-4042-8C2E-6EB78B9CB4FE}">
      <dgm:prSet/>
      <dgm:spPr/>
      <dgm:t>
        <a:bodyPr/>
        <a:lstStyle/>
        <a:p>
          <a:endParaRPr lang="en-US"/>
        </a:p>
      </dgm:t>
    </dgm:pt>
    <dgm:pt modelId="{E3306E13-C433-4570-811B-D8CB7E8D2779}" type="sibTrans" cxnId="{CC632902-13C5-4042-8C2E-6EB78B9CB4FE}">
      <dgm:prSet/>
      <dgm:spPr/>
      <dgm:t>
        <a:bodyPr/>
        <a:lstStyle/>
        <a:p>
          <a:endParaRPr lang="en-US"/>
        </a:p>
      </dgm:t>
    </dgm:pt>
    <dgm:pt modelId="{027A0136-5109-45A1-8A8F-65BE45318D25}">
      <dgm:prSet/>
      <dgm:spPr/>
      <dgm:t>
        <a:bodyPr/>
        <a:lstStyle/>
        <a:p>
          <a:r>
            <a:rPr lang="en-US" dirty="0"/>
            <a:t>California Senate Bill 855</a:t>
          </a:r>
        </a:p>
      </dgm:t>
    </dgm:pt>
    <dgm:pt modelId="{0C1930DA-E93F-4589-8ED1-5888BCB4408D}" type="parTrans" cxnId="{F212AE84-4AA3-4328-9074-F68BBB04FADE}">
      <dgm:prSet/>
      <dgm:spPr/>
      <dgm:t>
        <a:bodyPr/>
        <a:lstStyle/>
        <a:p>
          <a:endParaRPr lang="en-US"/>
        </a:p>
      </dgm:t>
    </dgm:pt>
    <dgm:pt modelId="{052E2938-BCC2-4105-A9F7-C82322304DEE}" type="sibTrans" cxnId="{F212AE84-4AA3-4328-9074-F68BBB04FADE}">
      <dgm:prSet/>
      <dgm:spPr/>
      <dgm:t>
        <a:bodyPr/>
        <a:lstStyle/>
        <a:p>
          <a:endParaRPr lang="en-US"/>
        </a:p>
      </dgm:t>
    </dgm:pt>
    <dgm:pt modelId="{1E821B14-9C2D-47E0-9286-786F07B80523}">
      <dgm:prSet/>
      <dgm:spPr/>
      <dgm:t>
        <a:bodyPr/>
        <a:lstStyle/>
        <a:p>
          <a:r>
            <a:rPr lang="en-US"/>
            <a:t>California DOI Regulations</a:t>
          </a:r>
        </a:p>
      </dgm:t>
    </dgm:pt>
    <dgm:pt modelId="{E9EFF325-E846-4A55-B8B7-9423E683ABBD}" type="parTrans" cxnId="{BB31F68C-15F7-4ED3-9EA2-A21FB27D132C}">
      <dgm:prSet/>
      <dgm:spPr/>
      <dgm:t>
        <a:bodyPr/>
        <a:lstStyle/>
        <a:p>
          <a:endParaRPr lang="en-US"/>
        </a:p>
      </dgm:t>
    </dgm:pt>
    <dgm:pt modelId="{E870AB61-81EA-42B0-B573-28CC7E55F524}" type="sibTrans" cxnId="{BB31F68C-15F7-4ED3-9EA2-A21FB27D132C}">
      <dgm:prSet/>
      <dgm:spPr/>
      <dgm:t>
        <a:bodyPr/>
        <a:lstStyle/>
        <a:p>
          <a:endParaRPr lang="en-US"/>
        </a:p>
      </dgm:t>
    </dgm:pt>
    <dgm:pt modelId="{D23B71BE-1015-8649-9B2B-143F50B18B8C}">
      <dgm:prSet/>
      <dgm:spPr/>
      <dgm:t>
        <a:bodyPr/>
        <a:lstStyle/>
        <a:p>
          <a:r>
            <a:rPr lang="en-US" dirty="0"/>
            <a:t>Wit v. United Healthcare</a:t>
          </a:r>
        </a:p>
      </dgm:t>
    </dgm:pt>
    <dgm:pt modelId="{B4E1187E-825E-B44F-9926-4E08DA8F0465}" type="parTrans" cxnId="{562D37FD-0B31-C943-A521-808BAC67DCEA}">
      <dgm:prSet/>
      <dgm:spPr/>
      <dgm:t>
        <a:bodyPr/>
        <a:lstStyle/>
        <a:p>
          <a:endParaRPr lang="en-US"/>
        </a:p>
      </dgm:t>
    </dgm:pt>
    <dgm:pt modelId="{C7FABA08-2F9E-0542-A951-17C6443E8CF4}" type="sibTrans" cxnId="{562D37FD-0B31-C943-A521-808BAC67DCEA}">
      <dgm:prSet/>
      <dgm:spPr/>
      <dgm:t>
        <a:bodyPr/>
        <a:lstStyle/>
        <a:p>
          <a:endParaRPr lang="en-US"/>
        </a:p>
      </dgm:t>
    </dgm:pt>
    <dgm:pt modelId="{9E88DA8E-7AD7-504D-8AF1-8F3750618AA3}" type="pres">
      <dgm:prSet presAssocID="{D1025AEE-CC79-404E-9CAA-4E9EAB39FF3A}" presName="linear" presStyleCnt="0">
        <dgm:presLayoutVars>
          <dgm:animLvl val="lvl"/>
          <dgm:resizeHandles val="exact"/>
        </dgm:presLayoutVars>
      </dgm:prSet>
      <dgm:spPr/>
    </dgm:pt>
    <dgm:pt modelId="{0497B3EE-BE5D-0D42-B8EE-BB5D43AE4A7A}" type="pres">
      <dgm:prSet presAssocID="{4367A5AE-5DB3-4FD0-A2DC-5898F3378C6D}" presName="parentText" presStyleLbl="node1" presStyleIdx="0" presStyleCnt="4" custLinFactY="-116576" custLinFactNeighborX="1397" custLinFactNeighborY="-200000">
        <dgm:presLayoutVars>
          <dgm:chMax val="0"/>
          <dgm:bulletEnabled val="1"/>
        </dgm:presLayoutVars>
      </dgm:prSet>
      <dgm:spPr/>
    </dgm:pt>
    <dgm:pt modelId="{5C370FD9-6B65-AA47-8921-BBF15297B707}" type="pres">
      <dgm:prSet presAssocID="{E3306E13-C433-4570-811B-D8CB7E8D2779}" presName="spacer" presStyleCnt="0"/>
      <dgm:spPr/>
    </dgm:pt>
    <dgm:pt modelId="{E76B0379-45E9-EE42-907D-851C503553A8}" type="pres">
      <dgm:prSet presAssocID="{D23B71BE-1015-8649-9B2B-143F50B18B8C}" presName="parentText" presStyleLbl="node1" presStyleIdx="1" presStyleCnt="4" custLinFactY="-43435" custLinFactNeighborX="-1034" custLinFactNeighborY="-100000">
        <dgm:presLayoutVars>
          <dgm:chMax val="0"/>
          <dgm:bulletEnabled val="1"/>
        </dgm:presLayoutVars>
      </dgm:prSet>
      <dgm:spPr/>
    </dgm:pt>
    <dgm:pt modelId="{A29AA8E3-ECEF-DC40-8C6C-3F5904C2531C}" type="pres">
      <dgm:prSet presAssocID="{C7FABA08-2F9E-0542-A951-17C6443E8CF4}" presName="spacer" presStyleCnt="0"/>
      <dgm:spPr/>
    </dgm:pt>
    <dgm:pt modelId="{FD2FC5C5-004E-F54B-BBCB-D79AFD7571AB}" type="pres">
      <dgm:prSet presAssocID="{027A0136-5109-45A1-8A8F-65BE45318D25}" presName="parentText" presStyleLbl="node1" presStyleIdx="2" presStyleCnt="4" custLinFactY="29032" custLinFactNeighborY="100000">
        <dgm:presLayoutVars>
          <dgm:chMax val="0"/>
          <dgm:bulletEnabled val="1"/>
        </dgm:presLayoutVars>
      </dgm:prSet>
      <dgm:spPr/>
    </dgm:pt>
    <dgm:pt modelId="{09837DDA-E850-0640-AFD1-D4E453123FEB}" type="pres">
      <dgm:prSet presAssocID="{052E2938-BCC2-4105-A9F7-C82322304DEE}" presName="spacer" presStyleCnt="0"/>
      <dgm:spPr/>
    </dgm:pt>
    <dgm:pt modelId="{808BA895-CBF5-324C-B5C1-DADFFC7CE006}" type="pres">
      <dgm:prSet presAssocID="{1E821B14-9C2D-47E0-9286-786F07B80523}" presName="parentText" presStyleLbl="node1" presStyleIdx="3" presStyleCnt="4" custLinFactY="116450" custLinFactNeighborX="-459" custLinFactNeighborY="200000">
        <dgm:presLayoutVars>
          <dgm:chMax val="0"/>
          <dgm:bulletEnabled val="1"/>
        </dgm:presLayoutVars>
      </dgm:prSet>
      <dgm:spPr/>
    </dgm:pt>
  </dgm:ptLst>
  <dgm:cxnLst>
    <dgm:cxn modelId="{CC632902-13C5-4042-8C2E-6EB78B9CB4FE}" srcId="{D1025AEE-CC79-404E-9CAA-4E9EAB39FF3A}" destId="{4367A5AE-5DB3-4FD0-A2DC-5898F3378C6D}" srcOrd="0" destOrd="0" parTransId="{7D7138A6-C45F-4DDA-B6BC-859CE4FF30DE}" sibTransId="{E3306E13-C433-4570-811B-D8CB7E8D2779}"/>
    <dgm:cxn modelId="{42157C17-2861-8141-A178-85D12FA977C4}" type="presOf" srcId="{4367A5AE-5DB3-4FD0-A2DC-5898F3378C6D}" destId="{0497B3EE-BE5D-0D42-B8EE-BB5D43AE4A7A}" srcOrd="0" destOrd="0" presId="urn:microsoft.com/office/officeart/2005/8/layout/vList2"/>
    <dgm:cxn modelId="{D7FB8D17-C807-D848-8B9F-16A1435668A6}" type="presOf" srcId="{027A0136-5109-45A1-8A8F-65BE45318D25}" destId="{FD2FC5C5-004E-F54B-BBCB-D79AFD7571AB}" srcOrd="0" destOrd="0" presId="urn:microsoft.com/office/officeart/2005/8/layout/vList2"/>
    <dgm:cxn modelId="{D6599B1E-1D31-834F-BC75-E1F0C85B7A62}" type="presOf" srcId="{D1025AEE-CC79-404E-9CAA-4E9EAB39FF3A}" destId="{9E88DA8E-7AD7-504D-8AF1-8F3750618AA3}" srcOrd="0" destOrd="0" presId="urn:microsoft.com/office/officeart/2005/8/layout/vList2"/>
    <dgm:cxn modelId="{505B9479-4DF3-5E46-9468-A4BFF2CA2AD2}" type="presOf" srcId="{D23B71BE-1015-8649-9B2B-143F50B18B8C}" destId="{E76B0379-45E9-EE42-907D-851C503553A8}" srcOrd="0" destOrd="0" presId="urn:microsoft.com/office/officeart/2005/8/layout/vList2"/>
    <dgm:cxn modelId="{4DCF5F84-620F-C64F-96F9-BBF6694C6383}" type="presOf" srcId="{1E821B14-9C2D-47E0-9286-786F07B80523}" destId="{808BA895-CBF5-324C-B5C1-DADFFC7CE006}" srcOrd="0" destOrd="0" presId="urn:microsoft.com/office/officeart/2005/8/layout/vList2"/>
    <dgm:cxn modelId="{F212AE84-4AA3-4328-9074-F68BBB04FADE}" srcId="{D1025AEE-CC79-404E-9CAA-4E9EAB39FF3A}" destId="{027A0136-5109-45A1-8A8F-65BE45318D25}" srcOrd="2" destOrd="0" parTransId="{0C1930DA-E93F-4589-8ED1-5888BCB4408D}" sibTransId="{052E2938-BCC2-4105-A9F7-C82322304DEE}"/>
    <dgm:cxn modelId="{BB31F68C-15F7-4ED3-9EA2-A21FB27D132C}" srcId="{D1025AEE-CC79-404E-9CAA-4E9EAB39FF3A}" destId="{1E821B14-9C2D-47E0-9286-786F07B80523}" srcOrd="3" destOrd="0" parTransId="{E9EFF325-E846-4A55-B8B7-9423E683ABBD}" sibTransId="{E870AB61-81EA-42B0-B573-28CC7E55F524}"/>
    <dgm:cxn modelId="{562D37FD-0B31-C943-A521-808BAC67DCEA}" srcId="{D1025AEE-CC79-404E-9CAA-4E9EAB39FF3A}" destId="{D23B71BE-1015-8649-9B2B-143F50B18B8C}" srcOrd="1" destOrd="0" parTransId="{B4E1187E-825E-B44F-9926-4E08DA8F0465}" sibTransId="{C7FABA08-2F9E-0542-A951-17C6443E8CF4}"/>
    <dgm:cxn modelId="{AF20D72D-E1A7-8149-AEC5-89798CE3AE2E}" type="presParOf" srcId="{9E88DA8E-7AD7-504D-8AF1-8F3750618AA3}" destId="{0497B3EE-BE5D-0D42-B8EE-BB5D43AE4A7A}" srcOrd="0" destOrd="0" presId="urn:microsoft.com/office/officeart/2005/8/layout/vList2"/>
    <dgm:cxn modelId="{84A81506-E57D-2F47-A42F-78D81509AEE6}" type="presParOf" srcId="{9E88DA8E-7AD7-504D-8AF1-8F3750618AA3}" destId="{5C370FD9-6B65-AA47-8921-BBF15297B707}" srcOrd="1" destOrd="0" presId="urn:microsoft.com/office/officeart/2005/8/layout/vList2"/>
    <dgm:cxn modelId="{8ED7D8E7-3C4A-604D-979B-41B65237BFDE}" type="presParOf" srcId="{9E88DA8E-7AD7-504D-8AF1-8F3750618AA3}" destId="{E76B0379-45E9-EE42-907D-851C503553A8}" srcOrd="2" destOrd="0" presId="urn:microsoft.com/office/officeart/2005/8/layout/vList2"/>
    <dgm:cxn modelId="{79640563-A04D-9641-9E4F-25D808A5AA67}" type="presParOf" srcId="{9E88DA8E-7AD7-504D-8AF1-8F3750618AA3}" destId="{A29AA8E3-ECEF-DC40-8C6C-3F5904C2531C}" srcOrd="3" destOrd="0" presId="urn:microsoft.com/office/officeart/2005/8/layout/vList2"/>
    <dgm:cxn modelId="{26278EDC-F313-A642-A526-BA805B9C0E42}" type="presParOf" srcId="{9E88DA8E-7AD7-504D-8AF1-8F3750618AA3}" destId="{FD2FC5C5-004E-F54B-BBCB-D79AFD7571AB}" srcOrd="4" destOrd="0" presId="urn:microsoft.com/office/officeart/2005/8/layout/vList2"/>
    <dgm:cxn modelId="{284F59DF-7166-1840-BC07-89A6F8B2D61F}" type="presParOf" srcId="{9E88DA8E-7AD7-504D-8AF1-8F3750618AA3}" destId="{09837DDA-E850-0640-AFD1-D4E453123FEB}" srcOrd="5" destOrd="0" presId="urn:microsoft.com/office/officeart/2005/8/layout/vList2"/>
    <dgm:cxn modelId="{1E1AE4B6-CDA2-F643-BF61-7DED1C982BF2}" type="presParOf" srcId="{9E88DA8E-7AD7-504D-8AF1-8F3750618AA3}" destId="{808BA895-CBF5-324C-B5C1-DADFFC7CE006}"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1025AEE-CC79-404E-9CAA-4E9EAB39FF3A}"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4367A5AE-5DB3-4FD0-A2DC-5898F3378C6D}">
      <dgm:prSet/>
      <dgm:spPr/>
      <dgm:t>
        <a:bodyPr/>
        <a:lstStyle/>
        <a:p>
          <a:r>
            <a:rPr lang="en-US" dirty="0"/>
            <a:t>Laws Requiring Coverage</a:t>
          </a:r>
        </a:p>
      </dgm:t>
    </dgm:pt>
    <dgm:pt modelId="{7D7138A6-C45F-4DDA-B6BC-859CE4FF30DE}" type="parTrans" cxnId="{CC632902-13C5-4042-8C2E-6EB78B9CB4FE}">
      <dgm:prSet/>
      <dgm:spPr/>
      <dgm:t>
        <a:bodyPr/>
        <a:lstStyle/>
        <a:p>
          <a:endParaRPr lang="en-US"/>
        </a:p>
      </dgm:t>
    </dgm:pt>
    <dgm:pt modelId="{E3306E13-C433-4570-811B-D8CB7E8D2779}" type="sibTrans" cxnId="{CC632902-13C5-4042-8C2E-6EB78B9CB4FE}">
      <dgm:prSet/>
      <dgm:spPr/>
      <dgm:t>
        <a:bodyPr/>
        <a:lstStyle/>
        <a:p>
          <a:endParaRPr lang="en-US"/>
        </a:p>
      </dgm:t>
    </dgm:pt>
    <dgm:pt modelId="{027A0136-5109-45A1-8A8F-65BE45318D25}">
      <dgm:prSet/>
      <dgm:spPr/>
      <dgm:t>
        <a:bodyPr/>
        <a:lstStyle/>
        <a:p>
          <a:r>
            <a:rPr lang="en-US" dirty="0"/>
            <a:t>California Senate Bill 855</a:t>
          </a:r>
        </a:p>
      </dgm:t>
    </dgm:pt>
    <dgm:pt modelId="{0C1930DA-E93F-4589-8ED1-5888BCB4408D}" type="parTrans" cxnId="{F212AE84-4AA3-4328-9074-F68BBB04FADE}">
      <dgm:prSet/>
      <dgm:spPr/>
      <dgm:t>
        <a:bodyPr/>
        <a:lstStyle/>
        <a:p>
          <a:endParaRPr lang="en-US"/>
        </a:p>
      </dgm:t>
    </dgm:pt>
    <dgm:pt modelId="{052E2938-BCC2-4105-A9F7-C82322304DEE}" type="sibTrans" cxnId="{F212AE84-4AA3-4328-9074-F68BBB04FADE}">
      <dgm:prSet/>
      <dgm:spPr/>
      <dgm:t>
        <a:bodyPr/>
        <a:lstStyle/>
        <a:p>
          <a:endParaRPr lang="en-US"/>
        </a:p>
      </dgm:t>
    </dgm:pt>
    <dgm:pt modelId="{1E821B14-9C2D-47E0-9286-786F07B80523}">
      <dgm:prSet/>
      <dgm:spPr/>
      <dgm:t>
        <a:bodyPr/>
        <a:lstStyle/>
        <a:p>
          <a:r>
            <a:rPr lang="en-US"/>
            <a:t>California DOI Regulations</a:t>
          </a:r>
        </a:p>
      </dgm:t>
    </dgm:pt>
    <dgm:pt modelId="{E9EFF325-E846-4A55-B8B7-9423E683ABBD}" type="parTrans" cxnId="{BB31F68C-15F7-4ED3-9EA2-A21FB27D132C}">
      <dgm:prSet/>
      <dgm:spPr/>
      <dgm:t>
        <a:bodyPr/>
        <a:lstStyle/>
        <a:p>
          <a:endParaRPr lang="en-US"/>
        </a:p>
      </dgm:t>
    </dgm:pt>
    <dgm:pt modelId="{E870AB61-81EA-42B0-B573-28CC7E55F524}" type="sibTrans" cxnId="{BB31F68C-15F7-4ED3-9EA2-A21FB27D132C}">
      <dgm:prSet/>
      <dgm:spPr/>
      <dgm:t>
        <a:bodyPr/>
        <a:lstStyle/>
        <a:p>
          <a:endParaRPr lang="en-US"/>
        </a:p>
      </dgm:t>
    </dgm:pt>
    <dgm:pt modelId="{D23B71BE-1015-8649-9B2B-143F50B18B8C}">
      <dgm:prSet/>
      <dgm:spPr/>
      <dgm:t>
        <a:bodyPr/>
        <a:lstStyle/>
        <a:p>
          <a:r>
            <a:rPr lang="en-US" dirty="0"/>
            <a:t>Wit v. United Healthcare</a:t>
          </a:r>
        </a:p>
      </dgm:t>
    </dgm:pt>
    <dgm:pt modelId="{B4E1187E-825E-B44F-9926-4E08DA8F0465}" type="parTrans" cxnId="{562D37FD-0B31-C943-A521-808BAC67DCEA}">
      <dgm:prSet/>
      <dgm:spPr/>
      <dgm:t>
        <a:bodyPr/>
        <a:lstStyle/>
        <a:p>
          <a:endParaRPr lang="en-US"/>
        </a:p>
      </dgm:t>
    </dgm:pt>
    <dgm:pt modelId="{C7FABA08-2F9E-0542-A951-17C6443E8CF4}" type="sibTrans" cxnId="{562D37FD-0B31-C943-A521-808BAC67DCEA}">
      <dgm:prSet/>
      <dgm:spPr/>
      <dgm:t>
        <a:bodyPr/>
        <a:lstStyle/>
        <a:p>
          <a:endParaRPr lang="en-US"/>
        </a:p>
      </dgm:t>
    </dgm:pt>
    <dgm:pt modelId="{9E88DA8E-7AD7-504D-8AF1-8F3750618AA3}" type="pres">
      <dgm:prSet presAssocID="{D1025AEE-CC79-404E-9CAA-4E9EAB39FF3A}" presName="linear" presStyleCnt="0">
        <dgm:presLayoutVars>
          <dgm:animLvl val="lvl"/>
          <dgm:resizeHandles val="exact"/>
        </dgm:presLayoutVars>
      </dgm:prSet>
      <dgm:spPr/>
    </dgm:pt>
    <dgm:pt modelId="{0497B3EE-BE5D-0D42-B8EE-BB5D43AE4A7A}" type="pres">
      <dgm:prSet presAssocID="{4367A5AE-5DB3-4FD0-A2DC-5898F3378C6D}" presName="parentText" presStyleLbl="node1" presStyleIdx="0" presStyleCnt="4" custLinFactY="-116576" custLinFactNeighborX="1397" custLinFactNeighborY="-200000">
        <dgm:presLayoutVars>
          <dgm:chMax val="0"/>
          <dgm:bulletEnabled val="1"/>
        </dgm:presLayoutVars>
      </dgm:prSet>
      <dgm:spPr/>
    </dgm:pt>
    <dgm:pt modelId="{5C370FD9-6B65-AA47-8921-BBF15297B707}" type="pres">
      <dgm:prSet presAssocID="{E3306E13-C433-4570-811B-D8CB7E8D2779}" presName="spacer" presStyleCnt="0"/>
      <dgm:spPr/>
    </dgm:pt>
    <dgm:pt modelId="{E76B0379-45E9-EE42-907D-851C503553A8}" type="pres">
      <dgm:prSet presAssocID="{D23B71BE-1015-8649-9B2B-143F50B18B8C}" presName="parentText" presStyleLbl="node1" presStyleIdx="1" presStyleCnt="4" custLinFactY="-43435" custLinFactNeighborX="-1034" custLinFactNeighborY="-100000">
        <dgm:presLayoutVars>
          <dgm:chMax val="0"/>
          <dgm:bulletEnabled val="1"/>
        </dgm:presLayoutVars>
      </dgm:prSet>
      <dgm:spPr/>
    </dgm:pt>
    <dgm:pt modelId="{A29AA8E3-ECEF-DC40-8C6C-3F5904C2531C}" type="pres">
      <dgm:prSet presAssocID="{C7FABA08-2F9E-0542-A951-17C6443E8CF4}" presName="spacer" presStyleCnt="0"/>
      <dgm:spPr/>
    </dgm:pt>
    <dgm:pt modelId="{FD2FC5C5-004E-F54B-BBCB-D79AFD7571AB}" type="pres">
      <dgm:prSet presAssocID="{027A0136-5109-45A1-8A8F-65BE45318D25}" presName="parentText" presStyleLbl="node1" presStyleIdx="2" presStyleCnt="4" custLinFactY="29032" custLinFactNeighborY="100000">
        <dgm:presLayoutVars>
          <dgm:chMax val="0"/>
          <dgm:bulletEnabled val="1"/>
        </dgm:presLayoutVars>
      </dgm:prSet>
      <dgm:spPr/>
    </dgm:pt>
    <dgm:pt modelId="{09837DDA-E850-0640-AFD1-D4E453123FEB}" type="pres">
      <dgm:prSet presAssocID="{052E2938-BCC2-4105-A9F7-C82322304DEE}" presName="spacer" presStyleCnt="0"/>
      <dgm:spPr/>
    </dgm:pt>
    <dgm:pt modelId="{808BA895-CBF5-324C-B5C1-DADFFC7CE006}" type="pres">
      <dgm:prSet presAssocID="{1E821B14-9C2D-47E0-9286-786F07B80523}" presName="parentText" presStyleLbl="node1" presStyleIdx="3" presStyleCnt="4" custLinFactY="116450" custLinFactNeighborX="-459" custLinFactNeighborY="200000">
        <dgm:presLayoutVars>
          <dgm:chMax val="0"/>
          <dgm:bulletEnabled val="1"/>
        </dgm:presLayoutVars>
      </dgm:prSet>
      <dgm:spPr/>
    </dgm:pt>
  </dgm:ptLst>
  <dgm:cxnLst>
    <dgm:cxn modelId="{CC632902-13C5-4042-8C2E-6EB78B9CB4FE}" srcId="{D1025AEE-CC79-404E-9CAA-4E9EAB39FF3A}" destId="{4367A5AE-5DB3-4FD0-A2DC-5898F3378C6D}" srcOrd="0" destOrd="0" parTransId="{7D7138A6-C45F-4DDA-B6BC-859CE4FF30DE}" sibTransId="{E3306E13-C433-4570-811B-D8CB7E8D2779}"/>
    <dgm:cxn modelId="{42157C17-2861-8141-A178-85D12FA977C4}" type="presOf" srcId="{4367A5AE-5DB3-4FD0-A2DC-5898F3378C6D}" destId="{0497B3EE-BE5D-0D42-B8EE-BB5D43AE4A7A}" srcOrd="0" destOrd="0" presId="urn:microsoft.com/office/officeart/2005/8/layout/vList2"/>
    <dgm:cxn modelId="{D7FB8D17-C807-D848-8B9F-16A1435668A6}" type="presOf" srcId="{027A0136-5109-45A1-8A8F-65BE45318D25}" destId="{FD2FC5C5-004E-F54B-BBCB-D79AFD7571AB}" srcOrd="0" destOrd="0" presId="urn:microsoft.com/office/officeart/2005/8/layout/vList2"/>
    <dgm:cxn modelId="{D6599B1E-1D31-834F-BC75-E1F0C85B7A62}" type="presOf" srcId="{D1025AEE-CC79-404E-9CAA-4E9EAB39FF3A}" destId="{9E88DA8E-7AD7-504D-8AF1-8F3750618AA3}" srcOrd="0" destOrd="0" presId="urn:microsoft.com/office/officeart/2005/8/layout/vList2"/>
    <dgm:cxn modelId="{505B9479-4DF3-5E46-9468-A4BFF2CA2AD2}" type="presOf" srcId="{D23B71BE-1015-8649-9B2B-143F50B18B8C}" destId="{E76B0379-45E9-EE42-907D-851C503553A8}" srcOrd="0" destOrd="0" presId="urn:microsoft.com/office/officeart/2005/8/layout/vList2"/>
    <dgm:cxn modelId="{4DCF5F84-620F-C64F-96F9-BBF6694C6383}" type="presOf" srcId="{1E821B14-9C2D-47E0-9286-786F07B80523}" destId="{808BA895-CBF5-324C-B5C1-DADFFC7CE006}" srcOrd="0" destOrd="0" presId="urn:microsoft.com/office/officeart/2005/8/layout/vList2"/>
    <dgm:cxn modelId="{F212AE84-4AA3-4328-9074-F68BBB04FADE}" srcId="{D1025AEE-CC79-404E-9CAA-4E9EAB39FF3A}" destId="{027A0136-5109-45A1-8A8F-65BE45318D25}" srcOrd="2" destOrd="0" parTransId="{0C1930DA-E93F-4589-8ED1-5888BCB4408D}" sibTransId="{052E2938-BCC2-4105-A9F7-C82322304DEE}"/>
    <dgm:cxn modelId="{BB31F68C-15F7-4ED3-9EA2-A21FB27D132C}" srcId="{D1025AEE-CC79-404E-9CAA-4E9EAB39FF3A}" destId="{1E821B14-9C2D-47E0-9286-786F07B80523}" srcOrd="3" destOrd="0" parTransId="{E9EFF325-E846-4A55-B8B7-9423E683ABBD}" sibTransId="{E870AB61-81EA-42B0-B573-28CC7E55F524}"/>
    <dgm:cxn modelId="{562D37FD-0B31-C943-A521-808BAC67DCEA}" srcId="{D1025AEE-CC79-404E-9CAA-4E9EAB39FF3A}" destId="{D23B71BE-1015-8649-9B2B-143F50B18B8C}" srcOrd="1" destOrd="0" parTransId="{B4E1187E-825E-B44F-9926-4E08DA8F0465}" sibTransId="{C7FABA08-2F9E-0542-A951-17C6443E8CF4}"/>
    <dgm:cxn modelId="{AF20D72D-E1A7-8149-AEC5-89798CE3AE2E}" type="presParOf" srcId="{9E88DA8E-7AD7-504D-8AF1-8F3750618AA3}" destId="{0497B3EE-BE5D-0D42-B8EE-BB5D43AE4A7A}" srcOrd="0" destOrd="0" presId="urn:microsoft.com/office/officeart/2005/8/layout/vList2"/>
    <dgm:cxn modelId="{84A81506-E57D-2F47-A42F-78D81509AEE6}" type="presParOf" srcId="{9E88DA8E-7AD7-504D-8AF1-8F3750618AA3}" destId="{5C370FD9-6B65-AA47-8921-BBF15297B707}" srcOrd="1" destOrd="0" presId="urn:microsoft.com/office/officeart/2005/8/layout/vList2"/>
    <dgm:cxn modelId="{8ED7D8E7-3C4A-604D-979B-41B65237BFDE}" type="presParOf" srcId="{9E88DA8E-7AD7-504D-8AF1-8F3750618AA3}" destId="{E76B0379-45E9-EE42-907D-851C503553A8}" srcOrd="2" destOrd="0" presId="urn:microsoft.com/office/officeart/2005/8/layout/vList2"/>
    <dgm:cxn modelId="{79640563-A04D-9641-9E4F-25D808A5AA67}" type="presParOf" srcId="{9E88DA8E-7AD7-504D-8AF1-8F3750618AA3}" destId="{A29AA8E3-ECEF-DC40-8C6C-3F5904C2531C}" srcOrd="3" destOrd="0" presId="urn:microsoft.com/office/officeart/2005/8/layout/vList2"/>
    <dgm:cxn modelId="{26278EDC-F313-A642-A526-BA805B9C0E42}" type="presParOf" srcId="{9E88DA8E-7AD7-504D-8AF1-8F3750618AA3}" destId="{FD2FC5C5-004E-F54B-BBCB-D79AFD7571AB}" srcOrd="4" destOrd="0" presId="urn:microsoft.com/office/officeart/2005/8/layout/vList2"/>
    <dgm:cxn modelId="{284F59DF-7166-1840-BC07-89A6F8B2D61F}" type="presParOf" srcId="{9E88DA8E-7AD7-504D-8AF1-8F3750618AA3}" destId="{09837DDA-E850-0640-AFD1-D4E453123FEB}" srcOrd="5" destOrd="0" presId="urn:microsoft.com/office/officeart/2005/8/layout/vList2"/>
    <dgm:cxn modelId="{1E1AE4B6-CDA2-F643-BF61-7DED1C982BF2}" type="presParOf" srcId="{9E88DA8E-7AD7-504D-8AF1-8F3750618AA3}" destId="{808BA895-CBF5-324C-B5C1-DADFFC7CE006}"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97B3EE-BE5D-0D42-B8EE-BB5D43AE4A7A}">
      <dsp:nvSpPr>
        <dsp:cNvPr id="0" name=""/>
        <dsp:cNvSpPr/>
      </dsp:nvSpPr>
      <dsp:spPr>
        <a:xfrm>
          <a:off x="0" y="0"/>
          <a:ext cx="4697730" cy="76752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Laws Requiring Coverage</a:t>
          </a:r>
        </a:p>
      </dsp:txBody>
      <dsp:txXfrm>
        <a:off x="37467" y="37467"/>
        <a:ext cx="4622796" cy="692586"/>
      </dsp:txXfrm>
    </dsp:sp>
    <dsp:sp modelId="{E76B0379-45E9-EE42-907D-851C503553A8}">
      <dsp:nvSpPr>
        <dsp:cNvPr id="0" name=""/>
        <dsp:cNvSpPr/>
      </dsp:nvSpPr>
      <dsp:spPr>
        <a:xfrm>
          <a:off x="0" y="1513211"/>
          <a:ext cx="4697730" cy="767520"/>
        </a:xfrm>
        <a:prstGeom prst="roundRect">
          <a:avLst/>
        </a:prstGeom>
        <a:solidFill>
          <a:schemeClr val="accent5">
            <a:hueOff val="-2451115"/>
            <a:satOff val="-3409"/>
            <a:lumOff val="-13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Wit v. United Healthcare</a:t>
          </a:r>
        </a:p>
      </dsp:txBody>
      <dsp:txXfrm>
        <a:off x="37467" y="1550678"/>
        <a:ext cx="4622796" cy="692586"/>
      </dsp:txXfrm>
    </dsp:sp>
    <dsp:sp modelId="{FD2FC5C5-004E-F54B-BBCB-D79AFD7571AB}">
      <dsp:nvSpPr>
        <dsp:cNvPr id="0" name=""/>
        <dsp:cNvSpPr/>
      </dsp:nvSpPr>
      <dsp:spPr>
        <a:xfrm>
          <a:off x="0" y="3113410"/>
          <a:ext cx="4697730" cy="767520"/>
        </a:xfrm>
        <a:prstGeom prst="roundRect">
          <a:avLst/>
        </a:prstGeom>
        <a:solidFill>
          <a:schemeClr val="accent5">
            <a:hueOff val="-4902230"/>
            <a:satOff val="-6819"/>
            <a:lumOff val="-26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California Senate Bill 855</a:t>
          </a:r>
        </a:p>
      </dsp:txBody>
      <dsp:txXfrm>
        <a:off x="37467" y="3150877"/>
        <a:ext cx="4622796" cy="692586"/>
      </dsp:txXfrm>
    </dsp:sp>
    <dsp:sp modelId="{808BA895-CBF5-324C-B5C1-DADFFC7CE006}">
      <dsp:nvSpPr>
        <dsp:cNvPr id="0" name=""/>
        <dsp:cNvSpPr/>
      </dsp:nvSpPr>
      <dsp:spPr>
        <a:xfrm>
          <a:off x="0" y="4736201"/>
          <a:ext cx="4697730" cy="767520"/>
        </a:xfrm>
        <a:prstGeom prst="roundRect">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a:t>California DOI Regulations</a:t>
          </a:r>
        </a:p>
      </dsp:txBody>
      <dsp:txXfrm>
        <a:off x="37467" y="4773668"/>
        <a:ext cx="4622796" cy="69258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97B3EE-BE5D-0D42-B8EE-BB5D43AE4A7A}">
      <dsp:nvSpPr>
        <dsp:cNvPr id="0" name=""/>
        <dsp:cNvSpPr/>
      </dsp:nvSpPr>
      <dsp:spPr>
        <a:xfrm>
          <a:off x="0" y="0"/>
          <a:ext cx="4697730" cy="76752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Laws Requiring Coverage</a:t>
          </a:r>
        </a:p>
      </dsp:txBody>
      <dsp:txXfrm>
        <a:off x="37467" y="37467"/>
        <a:ext cx="4622796" cy="692586"/>
      </dsp:txXfrm>
    </dsp:sp>
    <dsp:sp modelId="{E76B0379-45E9-EE42-907D-851C503553A8}">
      <dsp:nvSpPr>
        <dsp:cNvPr id="0" name=""/>
        <dsp:cNvSpPr/>
      </dsp:nvSpPr>
      <dsp:spPr>
        <a:xfrm>
          <a:off x="0" y="1513211"/>
          <a:ext cx="4697730" cy="767520"/>
        </a:xfrm>
        <a:prstGeom prst="roundRect">
          <a:avLst/>
        </a:prstGeom>
        <a:solidFill>
          <a:schemeClr val="accent5">
            <a:hueOff val="-2451115"/>
            <a:satOff val="-3409"/>
            <a:lumOff val="-13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Wit v. United Healthcare</a:t>
          </a:r>
        </a:p>
      </dsp:txBody>
      <dsp:txXfrm>
        <a:off x="37467" y="1550678"/>
        <a:ext cx="4622796" cy="692586"/>
      </dsp:txXfrm>
    </dsp:sp>
    <dsp:sp modelId="{FD2FC5C5-004E-F54B-BBCB-D79AFD7571AB}">
      <dsp:nvSpPr>
        <dsp:cNvPr id="0" name=""/>
        <dsp:cNvSpPr/>
      </dsp:nvSpPr>
      <dsp:spPr>
        <a:xfrm>
          <a:off x="0" y="3113410"/>
          <a:ext cx="4697730" cy="767520"/>
        </a:xfrm>
        <a:prstGeom prst="roundRect">
          <a:avLst/>
        </a:prstGeom>
        <a:solidFill>
          <a:schemeClr val="accent5">
            <a:hueOff val="-4902230"/>
            <a:satOff val="-6819"/>
            <a:lumOff val="-26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California Senate Bill 855</a:t>
          </a:r>
        </a:p>
      </dsp:txBody>
      <dsp:txXfrm>
        <a:off x="37467" y="3150877"/>
        <a:ext cx="4622796" cy="692586"/>
      </dsp:txXfrm>
    </dsp:sp>
    <dsp:sp modelId="{808BA895-CBF5-324C-B5C1-DADFFC7CE006}">
      <dsp:nvSpPr>
        <dsp:cNvPr id="0" name=""/>
        <dsp:cNvSpPr/>
      </dsp:nvSpPr>
      <dsp:spPr>
        <a:xfrm>
          <a:off x="0" y="4736201"/>
          <a:ext cx="4697730" cy="767520"/>
        </a:xfrm>
        <a:prstGeom prst="roundRect">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a:t>California DOI Regulations</a:t>
          </a:r>
        </a:p>
      </dsp:txBody>
      <dsp:txXfrm>
        <a:off x="37467" y="4773668"/>
        <a:ext cx="4622796" cy="69258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97B3EE-BE5D-0D42-B8EE-BB5D43AE4A7A}">
      <dsp:nvSpPr>
        <dsp:cNvPr id="0" name=""/>
        <dsp:cNvSpPr/>
      </dsp:nvSpPr>
      <dsp:spPr>
        <a:xfrm>
          <a:off x="0" y="0"/>
          <a:ext cx="4697730" cy="76752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Laws Requiring Coverage</a:t>
          </a:r>
        </a:p>
      </dsp:txBody>
      <dsp:txXfrm>
        <a:off x="37467" y="37467"/>
        <a:ext cx="4622796" cy="692586"/>
      </dsp:txXfrm>
    </dsp:sp>
    <dsp:sp modelId="{E76B0379-45E9-EE42-907D-851C503553A8}">
      <dsp:nvSpPr>
        <dsp:cNvPr id="0" name=""/>
        <dsp:cNvSpPr/>
      </dsp:nvSpPr>
      <dsp:spPr>
        <a:xfrm>
          <a:off x="0" y="1513211"/>
          <a:ext cx="4697730" cy="767520"/>
        </a:xfrm>
        <a:prstGeom prst="roundRect">
          <a:avLst/>
        </a:prstGeom>
        <a:solidFill>
          <a:schemeClr val="accent5">
            <a:hueOff val="-2451115"/>
            <a:satOff val="-3409"/>
            <a:lumOff val="-13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Wit v. United Healthcare</a:t>
          </a:r>
        </a:p>
      </dsp:txBody>
      <dsp:txXfrm>
        <a:off x="37467" y="1550678"/>
        <a:ext cx="4622796" cy="692586"/>
      </dsp:txXfrm>
    </dsp:sp>
    <dsp:sp modelId="{FD2FC5C5-004E-F54B-BBCB-D79AFD7571AB}">
      <dsp:nvSpPr>
        <dsp:cNvPr id="0" name=""/>
        <dsp:cNvSpPr/>
      </dsp:nvSpPr>
      <dsp:spPr>
        <a:xfrm>
          <a:off x="0" y="3113410"/>
          <a:ext cx="4697730" cy="767520"/>
        </a:xfrm>
        <a:prstGeom prst="roundRect">
          <a:avLst/>
        </a:prstGeom>
        <a:solidFill>
          <a:schemeClr val="accent5">
            <a:hueOff val="-4902230"/>
            <a:satOff val="-6819"/>
            <a:lumOff val="-26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California Senate Bill 855</a:t>
          </a:r>
        </a:p>
      </dsp:txBody>
      <dsp:txXfrm>
        <a:off x="37467" y="3150877"/>
        <a:ext cx="4622796" cy="692586"/>
      </dsp:txXfrm>
    </dsp:sp>
    <dsp:sp modelId="{808BA895-CBF5-324C-B5C1-DADFFC7CE006}">
      <dsp:nvSpPr>
        <dsp:cNvPr id="0" name=""/>
        <dsp:cNvSpPr/>
      </dsp:nvSpPr>
      <dsp:spPr>
        <a:xfrm>
          <a:off x="0" y="4736201"/>
          <a:ext cx="4697730" cy="767520"/>
        </a:xfrm>
        <a:prstGeom prst="roundRect">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a:t>California DOI Regulations</a:t>
          </a:r>
        </a:p>
      </dsp:txBody>
      <dsp:txXfrm>
        <a:off x="37467" y="4773668"/>
        <a:ext cx="4622796" cy="69258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97B3EE-BE5D-0D42-B8EE-BB5D43AE4A7A}">
      <dsp:nvSpPr>
        <dsp:cNvPr id="0" name=""/>
        <dsp:cNvSpPr/>
      </dsp:nvSpPr>
      <dsp:spPr>
        <a:xfrm>
          <a:off x="0" y="0"/>
          <a:ext cx="4697730" cy="76752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Laws Requiring Coverage</a:t>
          </a:r>
        </a:p>
      </dsp:txBody>
      <dsp:txXfrm>
        <a:off x="37467" y="37467"/>
        <a:ext cx="4622796" cy="692586"/>
      </dsp:txXfrm>
    </dsp:sp>
    <dsp:sp modelId="{E76B0379-45E9-EE42-907D-851C503553A8}">
      <dsp:nvSpPr>
        <dsp:cNvPr id="0" name=""/>
        <dsp:cNvSpPr/>
      </dsp:nvSpPr>
      <dsp:spPr>
        <a:xfrm>
          <a:off x="0" y="1513211"/>
          <a:ext cx="4697730" cy="767520"/>
        </a:xfrm>
        <a:prstGeom prst="roundRect">
          <a:avLst/>
        </a:prstGeom>
        <a:solidFill>
          <a:schemeClr val="accent5">
            <a:hueOff val="-2451115"/>
            <a:satOff val="-3409"/>
            <a:lumOff val="-13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Wit v. United Healthcare</a:t>
          </a:r>
        </a:p>
      </dsp:txBody>
      <dsp:txXfrm>
        <a:off x="37467" y="1550678"/>
        <a:ext cx="4622796" cy="692586"/>
      </dsp:txXfrm>
    </dsp:sp>
    <dsp:sp modelId="{FD2FC5C5-004E-F54B-BBCB-D79AFD7571AB}">
      <dsp:nvSpPr>
        <dsp:cNvPr id="0" name=""/>
        <dsp:cNvSpPr/>
      </dsp:nvSpPr>
      <dsp:spPr>
        <a:xfrm>
          <a:off x="0" y="3113410"/>
          <a:ext cx="4697730" cy="767520"/>
        </a:xfrm>
        <a:prstGeom prst="roundRect">
          <a:avLst/>
        </a:prstGeom>
        <a:solidFill>
          <a:schemeClr val="accent5">
            <a:hueOff val="-4902230"/>
            <a:satOff val="-6819"/>
            <a:lumOff val="-26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California Senate Bill 855</a:t>
          </a:r>
        </a:p>
      </dsp:txBody>
      <dsp:txXfrm>
        <a:off x="37467" y="3150877"/>
        <a:ext cx="4622796" cy="692586"/>
      </dsp:txXfrm>
    </dsp:sp>
    <dsp:sp modelId="{808BA895-CBF5-324C-B5C1-DADFFC7CE006}">
      <dsp:nvSpPr>
        <dsp:cNvPr id="0" name=""/>
        <dsp:cNvSpPr/>
      </dsp:nvSpPr>
      <dsp:spPr>
        <a:xfrm>
          <a:off x="0" y="4736201"/>
          <a:ext cx="4697730" cy="767520"/>
        </a:xfrm>
        <a:prstGeom prst="roundRect">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a:t>California DOI Regulations</a:t>
          </a:r>
        </a:p>
      </dsp:txBody>
      <dsp:txXfrm>
        <a:off x="37467" y="4773668"/>
        <a:ext cx="4622796" cy="692586"/>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B409C9-5EF0-7E4D-88CB-C678497C9EC7}" type="datetimeFigureOut">
              <a:rPr lang="en-US" smtClean="0"/>
              <a:t>11/8/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F9FF1E-A3B5-114A-881A-E40BC2F80812}" type="slidenum">
              <a:rPr lang="en-US" smtClean="0"/>
              <a:t>‹#›</a:t>
            </a:fld>
            <a:endParaRPr lang="en-US"/>
          </a:p>
        </p:txBody>
      </p:sp>
    </p:spTree>
    <p:extLst>
      <p:ext uri="{BB962C8B-B14F-4D97-AF65-F5344CB8AC3E}">
        <p14:creationId xmlns:p14="http://schemas.microsoft.com/office/powerpoint/2010/main" val="17078216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CD5841-9C13-4BA6-9738-C64B27DE0509}"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727789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CD5841-9C13-4BA6-9738-C64B27DE0509}"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57290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CASP increasingly play a large role in the work we do, as the entity that promulgates standards for the ABA field.  CASP not only houses the ABA Practice Guidelin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CD5841-9C13-4BA6-9738-C64B27DE0509}"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52069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CD5841-9C13-4BA6-9738-C64B27DE0509}"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94590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CD5841-9C13-4BA6-9738-C64B27DE0509}"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308441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3" name="Slide Image Placeholder 1">
            <a:extLst>
              <a:ext uri="{FF2B5EF4-FFF2-40B4-BE49-F238E27FC236}">
                <a16:creationId xmlns:a16="http://schemas.microsoft.com/office/drawing/2014/main" id="{9ECB28C7-27A4-2519-5380-CE9D5EB3830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2994" name="Notes Placeholder 2">
            <a:extLst>
              <a:ext uri="{FF2B5EF4-FFF2-40B4-BE49-F238E27FC236}">
                <a16:creationId xmlns:a16="http://schemas.microsoft.com/office/drawing/2014/main" id="{A7597193-5138-9B50-4FCD-5AFC5005B22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04475F7D-7D57-FDEF-3295-8BCEDC2436EF}"/>
              </a:ext>
            </a:extLst>
          </p:cNvPr>
          <p:cNvSpPr>
            <a:spLocks noGrp="1"/>
          </p:cNvSpPr>
          <p:nvPr>
            <p:ph type="sldNum" sz="quarter" idx="5"/>
          </p:nvPr>
        </p:nvSpPr>
        <p:spPr/>
        <p:txBody>
          <a:bodyPr/>
          <a:lstStyle/>
          <a:p>
            <a:pPr fontAlgn="auto">
              <a:spcBef>
                <a:spcPts val="0"/>
              </a:spcBef>
              <a:spcAft>
                <a:spcPts val="0"/>
              </a:spcAft>
              <a:defRPr/>
            </a:pPr>
            <a:fld id="{152B0133-A8E2-FC47-B521-07F0DDD9C7B5}" type="slidenum">
              <a:rPr lang="en-US">
                <a:solidFill>
                  <a:prstClr val="black"/>
                </a:solidFill>
                <a:latin typeface="Calibri" panose="020F0502020204030204"/>
                <a:ea typeface="+mn-ea"/>
              </a:rPr>
              <a:pPr fontAlgn="auto">
                <a:spcBef>
                  <a:spcPts val="0"/>
                </a:spcBef>
                <a:spcAft>
                  <a:spcPts val="0"/>
                </a:spcAft>
                <a:defRPr/>
              </a:pPr>
              <a:t>22</a:t>
            </a:fld>
            <a:endParaRPr lang="en-US">
              <a:solidFill>
                <a:prstClr val="black"/>
              </a:solidFill>
              <a:latin typeface="Calibri" panose="020F0502020204030204"/>
              <a:ea typeface="+mn-ea"/>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CD5841-9C13-4BA6-9738-C64B27DE0509}"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760363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CD5841-9C13-4BA6-9738-C64B27DE0509}"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395842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CD5841-9C13-4BA6-9738-C64B27DE0509}"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560944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CD5841-9C13-4BA6-9738-C64B27DE0509}"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090382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CD5841-9C13-4BA6-9738-C64B27DE0509}"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851895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CD5841-9C13-4BA6-9738-C64B27DE0509}"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331015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CD5841-9C13-4BA6-9738-C64B27DE0509}"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109107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CD5841-9C13-4BA6-9738-C64B27DE0509}"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47057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89" name="Slide Image Placeholder 1">
            <a:extLst>
              <a:ext uri="{FF2B5EF4-FFF2-40B4-BE49-F238E27FC236}">
                <a16:creationId xmlns:a16="http://schemas.microsoft.com/office/drawing/2014/main" id="{F6379CF8-0B1F-8265-BDDA-8AE5BBD84F9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5890" name="Notes Placeholder 2">
            <a:extLst>
              <a:ext uri="{FF2B5EF4-FFF2-40B4-BE49-F238E27FC236}">
                <a16:creationId xmlns:a16="http://schemas.microsoft.com/office/drawing/2014/main" id="{E31F4646-7FFC-7BA7-14E2-9C393594F21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Footer Placeholder 3">
            <a:extLst>
              <a:ext uri="{FF2B5EF4-FFF2-40B4-BE49-F238E27FC236}">
                <a16:creationId xmlns:a16="http://schemas.microsoft.com/office/drawing/2014/main" id="{C4E71F57-42DA-E7ED-4AFF-187F9FD6561D}"/>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165892" name="Slide Number Placeholder 4">
            <a:extLst>
              <a:ext uri="{FF2B5EF4-FFF2-40B4-BE49-F238E27FC236}">
                <a16:creationId xmlns:a16="http://schemas.microsoft.com/office/drawing/2014/main" id="{D055DC5D-DC8D-9F5D-4CB2-45909760BC0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AA4793E-732A-1044-9135-6B5A8D216588}" type="slidenum">
              <a:rPr kumimoji="0" lang="en-US" altLang="en-US" sz="13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altLang="en-US" sz="13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3" name="Slide Image Placeholder 1">
            <a:extLst>
              <a:ext uri="{FF2B5EF4-FFF2-40B4-BE49-F238E27FC236}">
                <a16:creationId xmlns:a16="http://schemas.microsoft.com/office/drawing/2014/main" id="{375F1634-9E51-992E-932E-FDF2A291FF6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1554" name="Notes Placeholder 2">
            <a:extLst>
              <a:ext uri="{FF2B5EF4-FFF2-40B4-BE49-F238E27FC236}">
                <a16:creationId xmlns:a16="http://schemas.microsoft.com/office/drawing/2014/main" id="{06330FAB-109E-FDB5-A4F0-A4293766541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Footer Placeholder 3">
            <a:extLst>
              <a:ext uri="{FF2B5EF4-FFF2-40B4-BE49-F238E27FC236}">
                <a16:creationId xmlns:a16="http://schemas.microsoft.com/office/drawing/2014/main" id="{301E61EC-350A-3523-C562-011657EC1544}"/>
              </a:ext>
            </a:extLst>
          </p:cNvPr>
          <p:cNvSpPr>
            <a:spLocks noGrp="1"/>
          </p:cNvSpPr>
          <p:nvPr>
            <p:ph type="ftr" sz="quarter" idx="4"/>
          </p:nvPr>
        </p:nvSpPr>
        <p:spPr/>
        <p:txBody>
          <a:bodyPr/>
          <a:lstStyle/>
          <a:p>
            <a:pPr>
              <a:defRPr/>
            </a:pPr>
            <a:endParaRPr lang="en-US"/>
          </a:p>
        </p:txBody>
      </p:sp>
      <p:sp>
        <p:nvSpPr>
          <p:cNvPr id="151556" name="Slide Number Placeholder 4">
            <a:extLst>
              <a:ext uri="{FF2B5EF4-FFF2-40B4-BE49-F238E27FC236}">
                <a16:creationId xmlns:a16="http://schemas.microsoft.com/office/drawing/2014/main" id="{954D174D-7D92-B69E-47B2-1F21E3ACE1D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fld id="{6CA73BF8-DA3B-FE4C-BD0C-192E209A44D2}" type="slidenum">
              <a:rPr lang="en-US" altLang="en-US" smtClean="0">
                <a:latin typeface="Calibri" panose="020F0502020204030204" pitchFamily="34" charset="0"/>
              </a:rPr>
              <a:pPr/>
              <a:t>12</a:t>
            </a:fld>
            <a:endParaRPr lang="en-US" altLang="en-US">
              <a:latin typeface="Calibri" panose="020F050202020403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CD5841-9C13-4BA6-9738-C64B27DE0509}"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736809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1" name="Slide Image Placeholder 1">
            <a:extLst>
              <a:ext uri="{FF2B5EF4-FFF2-40B4-BE49-F238E27FC236}">
                <a16:creationId xmlns:a16="http://schemas.microsoft.com/office/drawing/2014/main" id="{82AA33BB-0D1E-02BC-95F4-809EF9C2300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082" name="Notes Placeholder 2">
            <a:extLst>
              <a:ext uri="{FF2B5EF4-FFF2-40B4-BE49-F238E27FC236}">
                <a16:creationId xmlns:a16="http://schemas.microsoft.com/office/drawing/2014/main" id="{5149453B-9E1A-1735-1AA0-3E0F249C9F6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Footer Placeholder 3">
            <a:extLst>
              <a:ext uri="{FF2B5EF4-FFF2-40B4-BE49-F238E27FC236}">
                <a16:creationId xmlns:a16="http://schemas.microsoft.com/office/drawing/2014/main" id="{DDA3F558-0189-B225-F9F7-4F5910C4223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174084" name="Slide Number Placeholder 4">
            <a:extLst>
              <a:ext uri="{FF2B5EF4-FFF2-40B4-BE49-F238E27FC236}">
                <a16:creationId xmlns:a16="http://schemas.microsoft.com/office/drawing/2014/main" id="{E3415CD9-9752-A133-E392-8608CD059A1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ea typeface="MS PGothic" panose="020B0600070205080204" pitchFamily="34" charset="-128"/>
              </a:defRPr>
            </a:lvl1pPr>
            <a:lvl2pPr marL="742950" indent="-285750">
              <a:defRPr>
                <a:solidFill>
                  <a:schemeClr val="tx1"/>
                </a:solidFill>
                <a:latin typeface="Century Gothic" panose="020B0502020202020204" pitchFamily="34" charset="0"/>
                <a:ea typeface="MS PGothic" panose="020B0600070205080204" pitchFamily="34" charset="-128"/>
              </a:defRPr>
            </a:lvl2pPr>
            <a:lvl3pPr marL="1143000" indent="-228600">
              <a:defRPr>
                <a:solidFill>
                  <a:schemeClr val="tx1"/>
                </a:solidFill>
                <a:latin typeface="Century Gothic" panose="020B0502020202020204" pitchFamily="34" charset="0"/>
                <a:ea typeface="MS PGothic" panose="020B0600070205080204" pitchFamily="34" charset="-128"/>
              </a:defRPr>
            </a:lvl3pPr>
            <a:lvl4pPr marL="1600200" indent="-228600">
              <a:defRPr>
                <a:solidFill>
                  <a:schemeClr val="tx1"/>
                </a:solidFill>
                <a:latin typeface="Century Gothic" panose="020B0502020202020204" pitchFamily="34" charset="0"/>
                <a:ea typeface="MS PGothic" panose="020B0600070205080204" pitchFamily="34" charset="-128"/>
              </a:defRPr>
            </a:lvl4pPr>
            <a:lvl5pPr marL="2057400" indent="-228600">
              <a:defRPr>
                <a:solidFill>
                  <a:schemeClr val="tx1"/>
                </a:solidFill>
                <a:latin typeface="Century Gothic" panose="020B0502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entury Gothic" panose="020B0502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98EE084-764C-5E46-BEE9-4C811B8F157C}" type="slidenum">
              <a:rPr kumimoji="0" lang="en-US" altLang="en-US" sz="13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altLang="en-US" sz="13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CD5841-9C13-4BA6-9738-C64B27DE0509}"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841965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CD5841-9C13-4BA6-9738-C64B27DE0509}"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50764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D5EB5756-87DA-4E20-A88D-B591C9CC1F36}" type="datetimeFigureOut">
              <a:rPr lang="en-US" smtClean="0">
                <a:solidFill>
                  <a:prstClr val="black">
                    <a:tint val="75000"/>
                  </a:prstClr>
                </a:solidFill>
              </a:rPr>
              <a:pPr/>
              <a:t>11/8/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2E1A982-B1F1-4649-A26A-8AB1DEE5E80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85161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5EB5756-87DA-4E20-A88D-B591C9CC1F36}" type="datetimeFigureOut">
              <a:rPr lang="en-US" smtClean="0">
                <a:solidFill>
                  <a:prstClr val="black">
                    <a:tint val="75000"/>
                  </a:prstClr>
                </a:solidFill>
              </a:rPr>
              <a:pPr/>
              <a:t>11/8/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2E1A982-B1F1-4649-A26A-8AB1DEE5E80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897490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5EB5756-87DA-4E20-A88D-B591C9CC1F36}" type="datetimeFigureOut">
              <a:rPr lang="en-US" smtClean="0">
                <a:solidFill>
                  <a:prstClr val="black">
                    <a:tint val="75000"/>
                  </a:prstClr>
                </a:solidFill>
              </a:rPr>
              <a:pPr/>
              <a:t>11/8/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2E1A982-B1F1-4649-A26A-8AB1DEE5E80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641581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D81FF-79A3-4EA0-96F8-DA58F670C7B2}"/>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D2C94493-4973-45B9-AB57-4D3737F3AF50}"/>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D9C35867-BC8C-4BAA-8CB4-D7E09F671534}"/>
              </a:ext>
            </a:extLst>
          </p:cNvPr>
          <p:cNvSpPr>
            <a:spLocks noGrp="1"/>
          </p:cNvSpPr>
          <p:nvPr>
            <p:ph type="dt" sz="half" idx="10"/>
          </p:nvPr>
        </p:nvSpPr>
        <p:spPr/>
        <p:txBody>
          <a:bodyPr/>
          <a:lstStyle/>
          <a:p>
            <a:fld id="{4AC2223F-814A-4C1D-BDB9-F9F23F1B01A4}" type="datetimeFigureOut">
              <a:rPr lang="en-US" smtClean="0"/>
              <a:t>11/8/23</a:t>
            </a:fld>
            <a:endParaRPr lang="en-US"/>
          </a:p>
        </p:txBody>
      </p:sp>
      <p:sp>
        <p:nvSpPr>
          <p:cNvPr id="5" name="Footer Placeholder 4">
            <a:extLst>
              <a:ext uri="{FF2B5EF4-FFF2-40B4-BE49-F238E27FC236}">
                <a16:creationId xmlns:a16="http://schemas.microsoft.com/office/drawing/2014/main" id="{3970E6AD-D373-42D5-9084-FA3EBA33BB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636299-C1B2-475B-8951-E781D3320135}"/>
              </a:ext>
            </a:extLst>
          </p:cNvPr>
          <p:cNvSpPr>
            <a:spLocks noGrp="1"/>
          </p:cNvSpPr>
          <p:nvPr>
            <p:ph type="sldNum" sz="quarter" idx="12"/>
          </p:nvPr>
        </p:nvSpPr>
        <p:spPr/>
        <p:txBody>
          <a:bodyPr/>
          <a:lstStyle/>
          <a:p>
            <a:fld id="{230ECDDE-EADB-4BB7-AE69-C34967C956F8}" type="slidenum">
              <a:rPr lang="en-US" smtClean="0"/>
              <a:t>‹#›</a:t>
            </a:fld>
            <a:endParaRPr lang="en-US"/>
          </a:p>
        </p:txBody>
      </p:sp>
    </p:spTree>
    <p:extLst>
      <p:ext uri="{BB962C8B-B14F-4D97-AF65-F5344CB8AC3E}">
        <p14:creationId xmlns:p14="http://schemas.microsoft.com/office/powerpoint/2010/main" val="19115100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40805-735C-4C49-B9CD-DE1AA224026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64CCCB1-08FC-4053-873E-C423AC7F652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76A7B8-25DA-4964-BEC5-DCD5D4B9F94D}"/>
              </a:ext>
            </a:extLst>
          </p:cNvPr>
          <p:cNvSpPr>
            <a:spLocks noGrp="1"/>
          </p:cNvSpPr>
          <p:nvPr>
            <p:ph type="dt" sz="half" idx="10"/>
          </p:nvPr>
        </p:nvSpPr>
        <p:spPr/>
        <p:txBody>
          <a:bodyPr/>
          <a:lstStyle/>
          <a:p>
            <a:fld id="{4AC2223F-814A-4C1D-BDB9-F9F23F1B01A4}" type="datetimeFigureOut">
              <a:rPr lang="en-US" smtClean="0"/>
              <a:t>11/8/23</a:t>
            </a:fld>
            <a:endParaRPr lang="en-US"/>
          </a:p>
        </p:txBody>
      </p:sp>
      <p:sp>
        <p:nvSpPr>
          <p:cNvPr id="5" name="Footer Placeholder 4">
            <a:extLst>
              <a:ext uri="{FF2B5EF4-FFF2-40B4-BE49-F238E27FC236}">
                <a16:creationId xmlns:a16="http://schemas.microsoft.com/office/drawing/2014/main" id="{70ADD45B-C617-4875-AAF3-FAF8677EEA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68CD0A-3C68-4A6C-BB1E-35C9AC356AEF}"/>
              </a:ext>
            </a:extLst>
          </p:cNvPr>
          <p:cNvSpPr>
            <a:spLocks noGrp="1"/>
          </p:cNvSpPr>
          <p:nvPr>
            <p:ph type="sldNum" sz="quarter" idx="12"/>
          </p:nvPr>
        </p:nvSpPr>
        <p:spPr/>
        <p:txBody>
          <a:bodyPr/>
          <a:lstStyle/>
          <a:p>
            <a:fld id="{230ECDDE-EADB-4BB7-AE69-C34967C956F8}" type="slidenum">
              <a:rPr lang="en-US" smtClean="0"/>
              <a:t>‹#›</a:t>
            </a:fld>
            <a:endParaRPr lang="en-US"/>
          </a:p>
        </p:txBody>
      </p:sp>
    </p:spTree>
    <p:extLst>
      <p:ext uri="{BB962C8B-B14F-4D97-AF65-F5344CB8AC3E}">
        <p14:creationId xmlns:p14="http://schemas.microsoft.com/office/powerpoint/2010/main" val="5774871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85CD53-67F2-4A72-B92D-3170DB67A4A6}"/>
              </a:ext>
            </a:extLst>
          </p:cNvPr>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997843C3-26C1-4606-B02D-602160239C00}"/>
              </a:ext>
            </a:extLst>
          </p:cNvPr>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AC74D9E6-7AD6-42EC-AAD6-997387666A61}"/>
              </a:ext>
            </a:extLst>
          </p:cNvPr>
          <p:cNvSpPr>
            <a:spLocks noGrp="1"/>
          </p:cNvSpPr>
          <p:nvPr>
            <p:ph type="dt" sz="half" idx="10"/>
          </p:nvPr>
        </p:nvSpPr>
        <p:spPr/>
        <p:txBody>
          <a:bodyPr/>
          <a:lstStyle/>
          <a:p>
            <a:fld id="{4AC2223F-814A-4C1D-BDB9-F9F23F1B01A4}" type="datetimeFigureOut">
              <a:rPr lang="en-US" smtClean="0"/>
              <a:t>11/8/23</a:t>
            </a:fld>
            <a:endParaRPr lang="en-US"/>
          </a:p>
        </p:txBody>
      </p:sp>
      <p:sp>
        <p:nvSpPr>
          <p:cNvPr id="5" name="Footer Placeholder 4">
            <a:extLst>
              <a:ext uri="{FF2B5EF4-FFF2-40B4-BE49-F238E27FC236}">
                <a16:creationId xmlns:a16="http://schemas.microsoft.com/office/drawing/2014/main" id="{E3271854-5315-436D-AE1E-E0FE95BDA2F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D1C79A-B821-4256-8203-5310A0326962}"/>
              </a:ext>
            </a:extLst>
          </p:cNvPr>
          <p:cNvSpPr>
            <a:spLocks noGrp="1"/>
          </p:cNvSpPr>
          <p:nvPr>
            <p:ph type="sldNum" sz="quarter" idx="12"/>
          </p:nvPr>
        </p:nvSpPr>
        <p:spPr/>
        <p:txBody>
          <a:bodyPr/>
          <a:lstStyle/>
          <a:p>
            <a:fld id="{230ECDDE-EADB-4BB7-AE69-C34967C956F8}" type="slidenum">
              <a:rPr lang="en-US" smtClean="0"/>
              <a:t>‹#›</a:t>
            </a:fld>
            <a:endParaRPr lang="en-US"/>
          </a:p>
        </p:txBody>
      </p:sp>
    </p:spTree>
    <p:extLst>
      <p:ext uri="{BB962C8B-B14F-4D97-AF65-F5344CB8AC3E}">
        <p14:creationId xmlns:p14="http://schemas.microsoft.com/office/powerpoint/2010/main" val="25596527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23C33-A38F-4C23-AB10-4699175273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68F699F-8345-479B-8547-13E037271C0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8D6AA16-0AFE-4BFB-A67D-974A196AD64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A193A8-8012-4E09-8CEA-266DF0E0FFFB}"/>
              </a:ext>
            </a:extLst>
          </p:cNvPr>
          <p:cNvSpPr>
            <a:spLocks noGrp="1"/>
          </p:cNvSpPr>
          <p:nvPr>
            <p:ph type="dt" sz="half" idx="10"/>
          </p:nvPr>
        </p:nvSpPr>
        <p:spPr/>
        <p:txBody>
          <a:bodyPr/>
          <a:lstStyle/>
          <a:p>
            <a:fld id="{4AC2223F-814A-4C1D-BDB9-F9F23F1B01A4}" type="datetimeFigureOut">
              <a:rPr lang="en-US" smtClean="0"/>
              <a:t>11/8/23</a:t>
            </a:fld>
            <a:endParaRPr lang="en-US"/>
          </a:p>
        </p:txBody>
      </p:sp>
      <p:sp>
        <p:nvSpPr>
          <p:cNvPr id="6" name="Footer Placeholder 5">
            <a:extLst>
              <a:ext uri="{FF2B5EF4-FFF2-40B4-BE49-F238E27FC236}">
                <a16:creationId xmlns:a16="http://schemas.microsoft.com/office/drawing/2014/main" id="{C47D6B32-EDDC-47F1-8C5F-5CFC8B3931B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99DD75D-4AD8-4B05-8899-19AECD06A1EC}"/>
              </a:ext>
            </a:extLst>
          </p:cNvPr>
          <p:cNvSpPr>
            <a:spLocks noGrp="1"/>
          </p:cNvSpPr>
          <p:nvPr>
            <p:ph type="sldNum" sz="quarter" idx="12"/>
          </p:nvPr>
        </p:nvSpPr>
        <p:spPr/>
        <p:txBody>
          <a:bodyPr/>
          <a:lstStyle/>
          <a:p>
            <a:fld id="{230ECDDE-EADB-4BB7-AE69-C34967C956F8}" type="slidenum">
              <a:rPr lang="en-US" smtClean="0"/>
              <a:t>‹#›</a:t>
            </a:fld>
            <a:endParaRPr lang="en-US"/>
          </a:p>
        </p:txBody>
      </p:sp>
    </p:spTree>
    <p:extLst>
      <p:ext uri="{BB962C8B-B14F-4D97-AF65-F5344CB8AC3E}">
        <p14:creationId xmlns:p14="http://schemas.microsoft.com/office/powerpoint/2010/main" val="2108911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B88C7-8CDC-4593-9E46-DDA1FE9587F5}"/>
              </a:ext>
            </a:extLst>
          </p:cNvPr>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D2F358C-7FC0-4AE6-BF5E-FD7C1031239C}"/>
              </a:ext>
            </a:extLst>
          </p:cNvPr>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41DC8F3E-6440-4A9D-8325-C0390E24F10B}"/>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6EE8341-B7BE-4703-9D74-874276522EAE}"/>
              </a:ext>
            </a:extLst>
          </p:cNvPr>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CE2DC780-E3BF-4EF5-929B-642FD269401F}"/>
              </a:ext>
            </a:extLst>
          </p:cNvPr>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E121A15-3D30-439D-8A34-1552D9B9E50B}"/>
              </a:ext>
            </a:extLst>
          </p:cNvPr>
          <p:cNvSpPr>
            <a:spLocks noGrp="1"/>
          </p:cNvSpPr>
          <p:nvPr>
            <p:ph type="dt" sz="half" idx="10"/>
          </p:nvPr>
        </p:nvSpPr>
        <p:spPr/>
        <p:txBody>
          <a:bodyPr/>
          <a:lstStyle/>
          <a:p>
            <a:fld id="{4AC2223F-814A-4C1D-BDB9-F9F23F1B01A4}" type="datetimeFigureOut">
              <a:rPr lang="en-US" smtClean="0"/>
              <a:t>11/8/23</a:t>
            </a:fld>
            <a:endParaRPr lang="en-US"/>
          </a:p>
        </p:txBody>
      </p:sp>
      <p:sp>
        <p:nvSpPr>
          <p:cNvPr id="8" name="Footer Placeholder 7">
            <a:extLst>
              <a:ext uri="{FF2B5EF4-FFF2-40B4-BE49-F238E27FC236}">
                <a16:creationId xmlns:a16="http://schemas.microsoft.com/office/drawing/2014/main" id="{4715D6D9-BAB1-4977-82F7-F828C490C7A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C4AF5BD-0C79-4A3B-8F84-508E79AA516B}"/>
              </a:ext>
            </a:extLst>
          </p:cNvPr>
          <p:cNvSpPr>
            <a:spLocks noGrp="1"/>
          </p:cNvSpPr>
          <p:nvPr>
            <p:ph type="sldNum" sz="quarter" idx="12"/>
          </p:nvPr>
        </p:nvSpPr>
        <p:spPr/>
        <p:txBody>
          <a:bodyPr/>
          <a:lstStyle/>
          <a:p>
            <a:fld id="{230ECDDE-EADB-4BB7-AE69-C34967C956F8}" type="slidenum">
              <a:rPr lang="en-US" smtClean="0"/>
              <a:t>‹#›</a:t>
            </a:fld>
            <a:endParaRPr lang="en-US"/>
          </a:p>
        </p:txBody>
      </p:sp>
    </p:spTree>
    <p:extLst>
      <p:ext uri="{BB962C8B-B14F-4D97-AF65-F5344CB8AC3E}">
        <p14:creationId xmlns:p14="http://schemas.microsoft.com/office/powerpoint/2010/main" val="10674546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F7DFD-B894-4E4B-A17F-FC9208179F8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DE943C9-9B55-4D9C-976B-EE872ED40EC5}"/>
              </a:ext>
            </a:extLst>
          </p:cNvPr>
          <p:cNvSpPr>
            <a:spLocks noGrp="1"/>
          </p:cNvSpPr>
          <p:nvPr>
            <p:ph type="dt" sz="half" idx="10"/>
          </p:nvPr>
        </p:nvSpPr>
        <p:spPr/>
        <p:txBody>
          <a:bodyPr/>
          <a:lstStyle/>
          <a:p>
            <a:fld id="{4AC2223F-814A-4C1D-BDB9-F9F23F1B01A4}" type="datetimeFigureOut">
              <a:rPr lang="en-US" smtClean="0"/>
              <a:t>11/8/23</a:t>
            </a:fld>
            <a:endParaRPr lang="en-US"/>
          </a:p>
        </p:txBody>
      </p:sp>
      <p:sp>
        <p:nvSpPr>
          <p:cNvPr id="4" name="Footer Placeholder 3">
            <a:extLst>
              <a:ext uri="{FF2B5EF4-FFF2-40B4-BE49-F238E27FC236}">
                <a16:creationId xmlns:a16="http://schemas.microsoft.com/office/drawing/2014/main" id="{56D449C3-ED88-4706-8CF0-AC123AF84EA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4AD7CD5-6089-4CE2-968B-5EF55A4966DA}"/>
              </a:ext>
            </a:extLst>
          </p:cNvPr>
          <p:cNvSpPr>
            <a:spLocks noGrp="1"/>
          </p:cNvSpPr>
          <p:nvPr>
            <p:ph type="sldNum" sz="quarter" idx="12"/>
          </p:nvPr>
        </p:nvSpPr>
        <p:spPr/>
        <p:txBody>
          <a:bodyPr/>
          <a:lstStyle/>
          <a:p>
            <a:fld id="{230ECDDE-EADB-4BB7-AE69-C34967C956F8}" type="slidenum">
              <a:rPr lang="en-US" smtClean="0"/>
              <a:t>‹#›</a:t>
            </a:fld>
            <a:endParaRPr lang="en-US"/>
          </a:p>
        </p:txBody>
      </p:sp>
    </p:spTree>
    <p:extLst>
      <p:ext uri="{BB962C8B-B14F-4D97-AF65-F5344CB8AC3E}">
        <p14:creationId xmlns:p14="http://schemas.microsoft.com/office/powerpoint/2010/main" val="25207073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067ACA7-69D5-42B0-9290-BB1BD06122D9}"/>
              </a:ext>
            </a:extLst>
          </p:cNvPr>
          <p:cNvSpPr>
            <a:spLocks noGrp="1"/>
          </p:cNvSpPr>
          <p:nvPr>
            <p:ph type="dt" sz="half" idx="10"/>
          </p:nvPr>
        </p:nvSpPr>
        <p:spPr/>
        <p:txBody>
          <a:bodyPr/>
          <a:lstStyle/>
          <a:p>
            <a:fld id="{4AC2223F-814A-4C1D-BDB9-F9F23F1B01A4}" type="datetimeFigureOut">
              <a:rPr lang="en-US" smtClean="0"/>
              <a:t>11/8/23</a:t>
            </a:fld>
            <a:endParaRPr lang="en-US"/>
          </a:p>
        </p:txBody>
      </p:sp>
      <p:sp>
        <p:nvSpPr>
          <p:cNvPr id="3" name="Footer Placeholder 2">
            <a:extLst>
              <a:ext uri="{FF2B5EF4-FFF2-40B4-BE49-F238E27FC236}">
                <a16:creationId xmlns:a16="http://schemas.microsoft.com/office/drawing/2014/main" id="{DB0C99C9-092A-4120-828C-DD49389F0BB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1E5C54E-8AB1-454A-AC4B-CD7BB16BF353}"/>
              </a:ext>
            </a:extLst>
          </p:cNvPr>
          <p:cNvSpPr>
            <a:spLocks noGrp="1"/>
          </p:cNvSpPr>
          <p:nvPr>
            <p:ph type="sldNum" sz="quarter" idx="12"/>
          </p:nvPr>
        </p:nvSpPr>
        <p:spPr/>
        <p:txBody>
          <a:bodyPr/>
          <a:lstStyle/>
          <a:p>
            <a:fld id="{230ECDDE-EADB-4BB7-AE69-C34967C956F8}" type="slidenum">
              <a:rPr lang="en-US" smtClean="0"/>
              <a:t>‹#›</a:t>
            </a:fld>
            <a:endParaRPr lang="en-US"/>
          </a:p>
        </p:txBody>
      </p:sp>
    </p:spTree>
    <p:extLst>
      <p:ext uri="{BB962C8B-B14F-4D97-AF65-F5344CB8AC3E}">
        <p14:creationId xmlns:p14="http://schemas.microsoft.com/office/powerpoint/2010/main" val="40442707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B8463-6DDC-4399-A086-F42B44051AA0}"/>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C06AF740-0A36-461D-8017-94284BE7CA44}"/>
              </a:ext>
            </a:extLst>
          </p:cNvPr>
          <p:cNvSpPr>
            <a:spLocks noGrp="1"/>
          </p:cNvSpPr>
          <p:nvPr>
            <p:ph idx="1"/>
          </p:nvPr>
        </p:nvSpPr>
        <p:spPr>
          <a:xfrm>
            <a:off x="5183188" y="987426"/>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F0E5DC7-2639-4ECF-8FF8-BEF0430D5D38}"/>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B8A533DE-3598-43EC-BD5C-3C740D019978}"/>
              </a:ext>
            </a:extLst>
          </p:cNvPr>
          <p:cNvSpPr>
            <a:spLocks noGrp="1"/>
          </p:cNvSpPr>
          <p:nvPr>
            <p:ph type="dt" sz="half" idx="10"/>
          </p:nvPr>
        </p:nvSpPr>
        <p:spPr/>
        <p:txBody>
          <a:bodyPr/>
          <a:lstStyle/>
          <a:p>
            <a:fld id="{4AC2223F-814A-4C1D-BDB9-F9F23F1B01A4}" type="datetimeFigureOut">
              <a:rPr lang="en-US" smtClean="0"/>
              <a:t>11/8/23</a:t>
            </a:fld>
            <a:endParaRPr lang="en-US"/>
          </a:p>
        </p:txBody>
      </p:sp>
      <p:sp>
        <p:nvSpPr>
          <p:cNvPr id="6" name="Footer Placeholder 5">
            <a:extLst>
              <a:ext uri="{FF2B5EF4-FFF2-40B4-BE49-F238E27FC236}">
                <a16:creationId xmlns:a16="http://schemas.microsoft.com/office/drawing/2014/main" id="{38600A59-44A1-43EA-B94E-E9DAD6347C8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E0FB699-E5E2-4F7B-9A85-274B336D343C}"/>
              </a:ext>
            </a:extLst>
          </p:cNvPr>
          <p:cNvSpPr>
            <a:spLocks noGrp="1"/>
          </p:cNvSpPr>
          <p:nvPr>
            <p:ph type="sldNum" sz="quarter" idx="12"/>
          </p:nvPr>
        </p:nvSpPr>
        <p:spPr/>
        <p:txBody>
          <a:bodyPr/>
          <a:lstStyle/>
          <a:p>
            <a:fld id="{230ECDDE-EADB-4BB7-AE69-C34967C956F8}" type="slidenum">
              <a:rPr lang="en-US" smtClean="0"/>
              <a:t>‹#›</a:t>
            </a:fld>
            <a:endParaRPr lang="en-US"/>
          </a:p>
        </p:txBody>
      </p:sp>
    </p:spTree>
    <p:extLst>
      <p:ext uri="{BB962C8B-B14F-4D97-AF65-F5344CB8AC3E}">
        <p14:creationId xmlns:p14="http://schemas.microsoft.com/office/powerpoint/2010/main" val="17907286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5EB5756-87DA-4E20-A88D-B591C9CC1F36}" type="datetimeFigureOut">
              <a:rPr lang="en-US" smtClean="0">
                <a:solidFill>
                  <a:prstClr val="black">
                    <a:tint val="75000"/>
                  </a:prstClr>
                </a:solidFill>
              </a:rPr>
              <a:pPr/>
              <a:t>11/8/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2E1A982-B1F1-4649-A26A-8AB1DEE5E80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474212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C9F63-AB98-4BCC-AC3C-DF7E7F971BC3}"/>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50DB46F1-60BC-4C45-9CCA-90374BCD8909}"/>
              </a:ext>
            </a:extLst>
          </p:cNvPr>
          <p:cNvSpPr>
            <a:spLocks noGrp="1"/>
          </p:cNvSpPr>
          <p:nvPr>
            <p:ph type="pic" idx="1"/>
          </p:nvPr>
        </p:nvSpPr>
        <p:spPr>
          <a:xfrm>
            <a:off x="5183188" y="987426"/>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794C7A4D-7D11-44A9-BF4B-A703CD9ED895}"/>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8402CA66-988E-4B5F-88E3-8609E1FC7F3E}"/>
              </a:ext>
            </a:extLst>
          </p:cNvPr>
          <p:cNvSpPr>
            <a:spLocks noGrp="1"/>
          </p:cNvSpPr>
          <p:nvPr>
            <p:ph type="dt" sz="half" idx="10"/>
          </p:nvPr>
        </p:nvSpPr>
        <p:spPr/>
        <p:txBody>
          <a:bodyPr/>
          <a:lstStyle/>
          <a:p>
            <a:fld id="{4AC2223F-814A-4C1D-BDB9-F9F23F1B01A4}" type="datetimeFigureOut">
              <a:rPr lang="en-US" smtClean="0"/>
              <a:t>11/8/23</a:t>
            </a:fld>
            <a:endParaRPr lang="en-US"/>
          </a:p>
        </p:txBody>
      </p:sp>
      <p:sp>
        <p:nvSpPr>
          <p:cNvPr id="6" name="Footer Placeholder 5">
            <a:extLst>
              <a:ext uri="{FF2B5EF4-FFF2-40B4-BE49-F238E27FC236}">
                <a16:creationId xmlns:a16="http://schemas.microsoft.com/office/drawing/2014/main" id="{A6CE55A1-EDFB-4C6B-9AF4-E8B7C4BA139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110E1E2-D34F-4997-BF55-04AD7B70F785}"/>
              </a:ext>
            </a:extLst>
          </p:cNvPr>
          <p:cNvSpPr>
            <a:spLocks noGrp="1"/>
          </p:cNvSpPr>
          <p:nvPr>
            <p:ph type="sldNum" sz="quarter" idx="12"/>
          </p:nvPr>
        </p:nvSpPr>
        <p:spPr/>
        <p:txBody>
          <a:bodyPr/>
          <a:lstStyle/>
          <a:p>
            <a:fld id="{230ECDDE-EADB-4BB7-AE69-C34967C956F8}" type="slidenum">
              <a:rPr lang="en-US" smtClean="0"/>
              <a:t>‹#›</a:t>
            </a:fld>
            <a:endParaRPr lang="en-US"/>
          </a:p>
        </p:txBody>
      </p:sp>
    </p:spTree>
    <p:extLst>
      <p:ext uri="{BB962C8B-B14F-4D97-AF65-F5344CB8AC3E}">
        <p14:creationId xmlns:p14="http://schemas.microsoft.com/office/powerpoint/2010/main" val="4124773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841FC-3AF3-4803-888C-E7712DCE739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63470B0-5900-4F3C-BBE8-485E155FE13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04880B-B84D-4358-96C8-51DDCB0DEDED}"/>
              </a:ext>
            </a:extLst>
          </p:cNvPr>
          <p:cNvSpPr>
            <a:spLocks noGrp="1"/>
          </p:cNvSpPr>
          <p:nvPr>
            <p:ph type="dt" sz="half" idx="10"/>
          </p:nvPr>
        </p:nvSpPr>
        <p:spPr/>
        <p:txBody>
          <a:bodyPr/>
          <a:lstStyle/>
          <a:p>
            <a:fld id="{4AC2223F-814A-4C1D-BDB9-F9F23F1B01A4}" type="datetimeFigureOut">
              <a:rPr lang="en-US" smtClean="0"/>
              <a:t>11/8/23</a:t>
            </a:fld>
            <a:endParaRPr lang="en-US"/>
          </a:p>
        </p:txBody>
      </p:sp>
      <p:sp>
        <p:nvSpPr>
          <p:cNvPr id="5" name="Footer Placeholder 4">
            <a:extLst>
              <a:ext uri="{FF2B5EF4-FFF2-40B4-BE49-F238E27FC236}">
                <a16:creationId xmlns:a16="http://schemas.microsoft.com/office/drawing/2014/main" id="{A511D424-4F22-4016-861F-F88B40412A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0C0148-D4FB-47BE-BDFE-9B64263D9939}"/>
              </a:ext>
            </a:extLst>
          </p:cNvPr>
          <p:cNvSpPr>
            <a:spLocks noGrp="1"/>
          </p:cNvSpPr>
          <p:nvPr>
            <p:ph type="sldNum" sz="quarter" idx="12"/>
          </p:nvPr>
        </p:nvSpPr>
        <p:spPr/>
        <p:txBody>
          <a:bodyPr/>
          <a:lstStyle/>
          <a:p>
            <a:fld id="{230ECDDE-EADB-4BB7-AE69-C34967C956F8}" type="slidenum">
              <a:rPr lang="en-US" smtClean="0"/>
              <a:t>‹#›</a:t>
            </a:fld>
            <a:endParaRPr lang="en-US"/>
          </a:p>
        </p:txBody>
      </p:sp>
    </p:spTree>
    <p:extLst>
      <p:ext uri="{BB962C8B-B14F-4D97-AF65-F5344CB8AC3E}">
        <p14:creationId xmlns:p14="http://schemas.microsoft.com/office/powerpoint/2010/main" val="41095291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094B664-B17A-4223-B9FB-7494FD2171D8}"/>
              </a:ext>
            </a:extLst>
          </p:cNvPr>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BF402D5-3158-485D-A87B-C335DA6881D1}"/>
              </a:ext>
            </a:extLst>
          </p:cNvPr>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E06775-CCC8-4BA2-9387-10C06D499BC3}"/>
              </a:ext>
            </a:extLst>
          </p:cNvPr>
          <p:cNvSpPr>
            <a:spLocks noGrp="1"/>
          </p:cNvSpPr>
          <p:nvPr>
            <p:ph type="dt" sz="half" idx="10"/>
          </p:nvPr>
        </p:nvSpPr>
        <p:spPr/>
        <p:txBody>
          <a:bodyPr/>
          <a:lstStyle/>
          <a:p>
            <a:fld id="{4AC2223F-814A-4C1D-BDB9-F9F23F1B01A4}" type="datetimeFigureOut">
              <a:rPr lang="en-US" smtClean="0"/>
              <a:t>11/8/23</a:t>
            </a:fld>
            <a:endParaRPr lang="en-US"/>
          </a:p>
        </p:txBody>
      </p:sp>
      <p:sp>
        <p:nvSpPr>
          <p:cNvPr id="5" name="Footer Placeholder 4">
            <a:extLst>
              <a:ext uri="{FF2B5EF4-FFF2-40B4-BE49-F238E27FC236}">
                <a16:creationId xmlns:a16="http://schemas.microsoft.com/office/drawing/2014/main" id="{FEE8A2C3-880F-4FC5-A8C6-E5C05E2584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7AD076-CEA3-4193-B896-87ACE0631EAC}"/>
              </a:ext>
            </a:extLst>
          </p:cNvPr>
          <p:cNvSpPr>
            <a:spLocks noGrp="1"/>
          </p:cNvSpPr>
          <p:nvPr>
            <p:ph type="sldNum" sz="quarter" idx="12"/>
          </p:nvPr>
        </p:nvSpPr>
        <p:spPr/>
        <p:txBody>
          <a:bodyPr/>
          <a:lstStyle/>
          <a:p>
            <a:fld id="{230ECDDE-EADB-4BB7-AE69-C34967C956F8}" type="slidenum">
              <a:rPr lang="en-US" smtClean="0"/>
              <a:t>‹#›</a:t>
            </a:fld>
            <a:endParaRPr lang="en-US"/>
          </a:p>
        </p:txBody>
      </p:sp>
    </p:spTree>
    <p:extLst>
      <p:ext uri="{BB962C8B-B14F-4D97-AF65-F5344CB8AC3E}">
        <p14:creationId xmlns:p14="http://schemas.microsoft.com/office/powerpoint/2010/main" val="10593453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fld id="{CA503BF4-46FE-42A6-B4E9-65A3B066D319}" type="datetimeFigureOut">
              <a:rPr lang="en-US"/>
              <a:pPr>
                <a:defRPr/>
              </a:pPr>
              <a:t>11/8/23</a:t>
            </a:fld>
            <a:endParaRPr lang="en-US"/>
          </a:p>
        </p:txBody>
      </p:sp>
      <p:sp>
        <p:nvSpPr>
          <p:cNvPr id="5" name="Footer Placeholder 4"/>
          <p:cNvSpPr>
            <a:spLocks noGrp="1"/>
          </p:cNvSpPr>
          <p:nvPr>
            <p:ph type="ftr" sz="quarter" idx="11"/>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endParaRPr lang="en-US"/>
          </a:p>
        </p:txBody>
      </p:sp>
      <p:sp>
        <p:nvSpPr>
          <p:cNvPr id="6" name="Slide Number Placeholder 5"/>
          <p:cNvSpPr>
            <a:spLocks noGrp="1"/>
          </p:cNvSpPr>
          <p:nvPr>
            <p:ph type="sldNum" sz="quarter" idx="12"/>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fld id="{E0D09DFF-BACF-4A02-A9C2-04913D56C4E8}" type="slidenum">
              <a:rPr lang="en-US"/>
              <a:pPr>
                <a:defRPr/>
              </a:pPr>
              <a:t>‹#›</a:t>
            </a:fld>
            <a:endParaRPr lang="en-US"/>
          </a:p>
        </p:txBody>
      </p:sp>
    </p:spTree>
    <p:extLst>
      <p:ext uri="{BB962C8B-B14F-4D97-AF65-F5344CB8AC3E}">
        <p14:creationId xmlns:p14="http://schemas.microsoft.com/office/powerpoint/2010/main" val="40900506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fld id="{F5BA4E0F-BB35-40AB-94C8-164C051401E9}" type="datetimeFigureOut">
              <a:rPr lang="en-US"/>
              <a:pPr>
                <a:defRPr/>
              </a:pPr>
              <a:t>11/8/23</a:t>
            </a:fld>
            <a:endParaRPr lang="en-US"/>
          </a:p>
        </p:txBody>
      </p:sp>
      <p:sp>
        <p:nvSpPr>
          <p:cNvPr id="5" name="Footer Placeholder 4"/>
          <p:cNvSpPr>
            <a:spLocks noGrp="1"/>
          </p:cNvSpPr>
          <p:nvPr>
            <p:ph type="ftr" sz="quarter" idx="11"/>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endParaRPr lang="en-US"/>
          </a:p>
        </p:txBody>
      </p:sp>
      <p:sp>
        <p:nvSpPr>
          <p:cNvPr id="6" name="Slide Number Placeholder 5"/>
          <p:cNvSpPr>
            <a:spLocks noGrp="1"/>
          </p:cNvSpPr>
          <p:nvPr>
            <p:ph type="sldNum" sz="quarter" idx="12"/>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fld id="{3406387D-598C-4B8C-8981-799B09BFE707}" type="slidenum">
              <a:rPr lang="en-US"/>
              <a:pPr>
                <a:defRPr/>
              </a:pPr>
              <a:t>‹#›</a:t>
            </a:fld>
            <a:endParaRPr lang="en-US"/>
          </a:p>
        </p:txBody>
      </p:sp>
    </p:spTree>
    <p:extLst>
      <p:ext uri="{BB962C8B-B14F-4D97-AF65-F5344CB8AC3E}">
        <p14:creationId xmlns:p14="http://schemas.microsoft.com/office/powerpoint/2010/main" val="8739723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fld id="{1B318628-BEFF-4F26-BF80-95E5C022D30D}" type="datetimeFigureOut">
              <a:rPr lang="en-US"/>
              <a:pPr>
                <a:defRPr/>
              </a:pPr>
              <a:t>11/8/23</a:t>
            </a:fld>
            <a:endParaRPr lang="en-US"/>
          </a:p>
        </p:txBody>
      </p:sp>
      <p:sp>
        <p:nvSpPr>
          <p:cNvPr id="5" name="Footer Placeholder 4"/>
          <p:cNvSpPr>
            <a:spLocks noGrp="1"/>
          </p:cNvSpPr>
          <p:nvPr>
            <p:ph type="ftr" sz="quarter" idx="11"/>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endParaRPr lang="en-US"/>
          </a:p>
        </p:txBody>
      </p:sp>
      <p:sp>
        <p:nvSpPr>
          <p:cNvPr id="6" name="Slide Number Placeholder 5"/>
          <p:cNvSpPr>
            <a:spLocks noGrp="1"/>
          </p:cNvSpPr>
          <p:nvPr>
            <p:ph type="sldNum" sz="quarter" idx="12"/>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fld id="{421EE92C-BAE7-498A-84E1-9624DBBEF953}" type="slidenum">
              <a:rPr lang="en-US"/>
              <a:pPr>
                <a:defRPr/>
              </a:pPr>
              <a:t>‹#›</a:t>
            </a:fld>
            <a:endParaRPr lang="en-US"/>
          </a:p>
        </p:txBody>
      </p:sp>
    </p:spTree>
    <p:extLst>
      <p:ext uri="{BB962C8B-B14F-4D97-AF65-F5344CB8AC3E}">
        <p14:creationId xmlns:p14="http://schemas.microsoft.com/office/powerpoint/2010/main" val="1451782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fld id="{7F32DE6A-92B3-4D84-ABBF-0F5AB4FDAF83}" type="datetimeFigureOut">
              <a:rPr lang="en-US"/>
              <a:pPr>
                <a:defRPr/>
              </a:pPr>
              <a:t>11/8/23</a:t>
            </a:fld>
            <a:endParaRPr lang="en-US"/>
          </a:p>
        </p:txBody>
      </p:sp>
      <p:sp>
        <p:nvSpPr>
          <p:cNvPr id="6" name="Footer Placeholder 5"/>
          <p:cNvSpPr>
            <a:spLocks noGrp="1"/>
          </p:cNvSpPr>
          <p:nvPr>
            <p:ph type="ftr" sz="quarter" idx="11"/>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endParaRPr lang="en-US"/>
          </a:p>
        </p:txBody>
      </p:sp>
      <p:sp>
        <p:nvSpPr>
          <p:cNvPr id="7" name="Slide Number Placeholder 6"/>
          <p:cNvSpPr>
            <a:spLocks noGrp="1"/>
          </p:cNvSpPr>
          <p:nvPr>
            <p:ph type="sldNum" sz="quarter" idx="12"/>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fld id="{18412083-A806-4C5E-AFFF-3481A4350D99}" type="slidenum">
              <a:rPr lang="en-US"/>
              <a:pPr>
                <a:defRPr/>
              </a:pPr>
              <a:t>‹#›</a:t>
            </a:fld>
            <a:endParaRPr lang="en-US"/>
          </a:p>
        </p:txBody>
      </p:sp>
    </p:spTree>
    <p:extLst>
      <p:ext uri="{BB962C8B-B14F-4D97-AF65-F5344CB8AC3E}">
        <p14:creationId xmlns:p14="http://schemas.microsoft.com/office/powerpoint/2010/main" val="12385124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fld id="{B038BC95-498E-4429-8E53-B43B17E4588B}" type="datetimeFigureOut">
              <a:rPr lang="en-US"/>
              <a:pPr>
                <a:defRPr/>
              </a:pPr>
              <a:t>11/8/23</a:t>
            </a:fld>
            <a:endParaRPr lang="en-US"/>
          </a:p>
        </p:txBody>
      </p:sp>
      <p:sp>
        <p:nvSpPr>
          <p:cNvPr id="8" name="Footer Placeholder 7"/>
          <p:cNvSpPr>
            <a:spLocks noGrp="1"/>
          </p:cNvSpPr>
          <p:nvPr>
            <p:ph type="ftr" sz="quarter" idx="11"/>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endParaRPr lang="en-US"/>
          </a:p>
        </p:txBody>
      </p:sp>
      <p:sp>
        <p:nvSpPr>
          <p:cNvPr id="9" name="Slide Number Placeholder 8"/>
          <p:cNvSpPr>
            <a:spLocks noGrp="1"/>
          </p:cNvSpPr>
          <p:nvPr>
            <p:ph type="sldNum" sz="quarter" idx="12"/>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fld id="{2FFB4663-AF2A-4CA2-9689-5D49582768C6}" type="slidenum">
              <a:rPr lang="en-US"/>
              <a:pPr>
                <a:defRPr/>
              </a:pPr>
              <a:t>‹#›</a:t>
            </a:fld>
            <a:endParaRPr lang="en-US"/>
          </a:p>
        </p:txBody>
      </p:sp>
    </p:spTree>
    <p:extLst>
      <p:ext uri="{BB962C8B-B14F-4D97-AF65-F5344CB8AC3E}">
        <p14:creationId xmlns:p14="http://schemas.microsoft.com/office/powerpoint/2010/main" val="3915476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fld id="{3210D83A-96A0-47CF-BB9F-420DFA1C104C}" type="datetimeFigureOut">
              <a:rPr lang="en-US"/>
              <a:pPr>
                <a:defRPr/>
              </a:pPr>
              <a:t>11/8/23</a:t>
            </a:fld>
            <a:endParaRPr lang="en-US"/>
          </a:p>
        </p:txBody>
      </p:sp>
      <p:sp>
        <p:nvSpPr>
          <p:cNvPr id="4" name="Footer Placeholder 3"/>
          <p:cNvSpPr>
            <a:spLocks noGrp="1"/>
          </p:cNvSpPr>
          <p:nvPr>
            <p:ph type="ftr" sz="quarter" idx="11"/>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endParaRPr lang="en-US"/>
          </a:p>
        </p:txBody>
      </p:sp>
      <p:sp>
        <p:nvSpPr>
          <p:cNvPr id="5" name="Slide Number Placeholder 4"/>
          <p:cNvSpPr>
            <a:spLocks noGrp="1"/>
          </p:cNvSpPr>
          <p:nvPr>
            <p:ph type="sldNum" sz="quarter" idx="12"/>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fld id="{022F50A6-606C-4C22-929F-BA0F0C44D8FF}" type="slidenum">
              <a:rPr lang="en-US"/>
              <a:pPr>
                <a:defRPr/>
              </a:pPr>
              <a:t>‹#›</a:t>
            </a:fld>
            <a:endParaRPr lang="en-US"/>
          </a:p>
        </p:txBody>
      </p:sp>
    </p:spTree>
    <p:extLst>
      <p:ext uri="{BB962C8B-B14F-4D97-AF65-F5344CB8AC3E}">
        <p14:creationId xmlns:p14="http://schemas.microsoft.com/office/powerpoint/2010/main" val="40199269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fld id="{F7F4AF2F-7797-43F5-B62C-7E142A170ED0}" type="datetimeFigureOut">
              <a:rPr lang="en-US"/>
              <a:pPr>
                <a:defRPr/>
              </a:pPr>
              <a:t>11/8/23</a:t>
            </a:fld>
            <a:endParaRPr lang="en-US"/>
          </a:p>
        </p:txBody>
      </p:sp>
      <p:sp>
        <p:nvSpPr>
          <p:cNvPr id="3" name="Footer Placeholder 2"/>
          <p:cNvSpPr>
            <a:spLocks noGrp="1"/>
          </p:cNvSpPr>
          <p:nvPr>
            <p:ph type="ftr" sz="quarter" idx="11"/>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endParaRPr lang="en-US"/>
          </a:p>
        </p:txBody>
      </p:sp>
      <p:sp>
        <p:nvSpPr>
          <p:cNvPr id="4" name="Slide Number Placeholder 3"/>
          <p:cNvSpPr>
            <a:spLocks noGrp="1"/>
          </p:cNvSpPr>
          <p:nvPr>
            <p:ph type="sldNum" sz="quarter" idx="12"/>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fld id="{A1935BCA-E3FF-4735-B751-7A9EDFA51DA8}" type="slidenum">
              <a:rPr lang="en-US"/>
              <a:pPr>
                <a:defRPr/>
              </a:pPr>
              <a:t>‹#›</a:t>
            </a:fld>
            <a:endParaRPr lang="en-US"/>
          </a:p>
        </p:txBody>
      </p:sp>
    </p:spTree>
    <p:extLst>
      <p:ext uri="{BB962C8B-B14F-4D97-AF65-F5344CB8AC3E}">
        <p14:creationId xmlns:p14="http://schemas.microsoft.com/office/powerpoint/2010/main" val="34714754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5EB5756-87DA-4E20-A88D-B591C9CC1F36}" type="datetimeFigureOut">
              <a:rPr lang="en-US" smtClean="0">
                <a:solidFill>
                  <a:prstClr val="black">
                    <a:tint val="75000"/>
                  </a:prstClr>
                </a:solidFill>
              </a:rPr>
              <a:pPr/>
              <a:t>11/8/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2E1A982-B1F1-4649-A26A-8AB1DEE5E80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067068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fld id="{40A384DD-238E-4774-8870-F75D7C0FCA24}" type="datetimeFigureOut">
              <a:rPr lang="en-US"/>
              <a:pPr>
                <a:defRPr/>
              </a:pPr>
              <a:t>11/8/23</a:t>
            </a:fld>
            <a:endParaRPr lang="en-US"/>
          </a:p>
        </p:txBody>
      </p:sp>
      <p:sp>
        <p:nvSpPr>
          <p:cNvPr id="6" name="Footer Placeholder 5"/>
          <p:cNvSpPr>
            <a:spLocks noGrp="1"/>
          </p:cNvSpPr>
          <p:nvPr>
            <p:ph type="ftr" sz="quarter" idx="11"/>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endParaRPr lang="en-US"/>
          </a:p>
        </p:txBody>
      </p:sp>
      <p:sp>
        <p:nvSpPr>
          <p:cNvPr id="7" name="Slide Number Placeholder 6"/>
          <p:cNvSpPr>
            <a:spLocks noGrp="1"/>
          </p:cNvSpPr>
          <p:nvPr>
            <p:ph type="sldNum" sz="quarter" idx="12"/>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fld id="{31C85CA3-E4E7-4D05-9525-61839317B3B5}" type="slidenum">
              <a:rPr lang="en-US"/>
              <a:pPr>
                <a:defRPr/>
              </a:pPr>
              <a:t>‹#›</a:t>
            </a:fld>
            <a:endParaRPr lang="en-US"/>
          </a:p>
        </p:txBody>
      </p:sp>
    </p:spTree>
    <p:extLst>
      <p:ext uri="{BB962C8B-B14F-4D97-AF65-F5344CB8AC3E}">
        <p14:creationId xmlns:p14="http://schemas.microsoft.com/office/powerpoint/2010/main" val="32339956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fld id="{594A4984-5E7D-46FF-A69E-E6ABA494DB01}" type="datetimeFigureOut">
              <a:rPr lang="en-US"/>
              <a:pPr>
                <a:defRPr/>
              </a:pPr>
              <a:t>11/8/23</a:t>
            </a:fld>
            <a:endParaRPr lang="en-US"/>
          </a:p>
        </p:txBody>
      </p:sp>
      <p:sp>
        <p:nvSpPr>
          <p:cNvPr id="6" name="Footer Placeholder 5"/>
          <p:cNvSpPr>
            <a:spLocks noGrp="1"/>
          </p:cNvSpPr>
          <p:nvPr>
            <p:ph type="ftr" sz="quarter" idx="11"/>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endParaRPr lang="en-US"/>
          </a:p>
        </p:txBody>
      </p:sp>
      <p:sp>
        <p:nvSpPr>
          <p:cNvPr id="7" name="Slide Number Placeholder 6"/>
          <p:cNvSpPr>
            <a:spLocks noGrp="1"/>
          </p:cNvSpPr>
          <p:nvPr>
            <p:ph type="sldNum" sz="quarter" idx="12"/>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fld id="{F1AE49D3-1105-4A07-BC19-C1CC13FF7A48}" type="slidenum">
              <a:rPr lang="en-US"/>
              <a:pPr>
                <a:defRPr/>
              </a:pPr>
              <a:t>‹#›</a:t>
            </a:fld>
            <a:endParaRPr lang="en-US"/>
          </a:p>
        </p:txBody>
      </p:sp>
    </p:spTree>
    <p:extLst>
      <p:ext uri="{BB962C8B-B14F-4D97-AF65-F5344CB8AC3E}">
        <p14:creationId xmlns:p14="http://schemas.microsoft.com/office/powerpoint/2010/main" val="4706738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fld id="{2EC2768E-7216-4D69-9054-52E9E63326C2}" type="datetimeFigureOut">
              <a:rPr lang="en-US"/>
              <a:pPr>
                <a:defRPr/>
              </a:pPr>
              <a:t>11/8/23</a:t>
            </a:fld>
            <a:endParaRPr lang="en-US"/>
          </a:p>
        </p:txBody>
      </p:sp>
      <p:sp>
        <p:nvSpPr>
          <p:cNvPr id="5" name="Footer Placeholder 4"/>
          <p:cNvSpPr>
            <a:spLocks noGrp="1"/>
          </p:cNvSpPr>
          <p:nvPr>
            <p:ph type="ftr" sz="quarter" idx="11"/>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endParaRPr lang="en-US"/>
          </a:p>
        </p:txBody>
      </p:sp>
      <p:sp>
        <p:nvSpPr>
          <p:cNvPr id="6" name="Slide Number Placeholder 5"/>
          <p:cNvSpPr>
            <a:spLocks noGrp="1"/>
          </p:cNvSpPr>
          <p:nvPr>
            <p:ph type="sldNum" sz="quarter" idx="12"/>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fld id="{22A624CB-8082-464A-95DD-5B33AB481D7D}" type="slidenum">
              <a:rPr lang="en-US"/>
              <a:pPr>
                <a:defRPr/>
              </a:pPr>
              <a:t>‹#›</a:t>
            </a:fld>
            <a:endParaRPr lang="en-US"/>
          </a:p>
        </p:txBody>
      </p:sp>
    </p:spTree>
    <p:extLst>
      <p:ext uri="{BB962C8B-B14F-4D97-AF65-F5344CB8AC3E}">
        <p14:creationId xmlns:p14="http://schemas.microsoft.com/office/powerpoint/2010/main" val="41067629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fld id="{6B169930-92CC-4B8C-9FD8-7F60C4833426}" type="datetimeFigureOut">
              <a:rPr lang="en-US"/>
              <a:pPr>
                <a:defRPr/>
              </a:pPr>
              <a:t>11/8/23</a:t>
            </a:fld>
            <a:endParaRPr lang="en-US"/>
          </a:p>
        </p:txBody>
      </p:sp>
      <p:sp>
        <p:nvSpPr>
          <p:cNvPr id="5" name="Footer Placeholder 4"/>
          <p:cNvSpPr>
            <a:spLocks noGrp="1"/>
          </p:cNvSpPr>
          <p:nvPr>
            <p:ph type="ftr" sz="quarter" idx="11"/>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endParaRPr lang="en-US"/>
          </a:p>
        </p:txBody>
      </p:sp>
      <p:sp>
        <p:nvSpPr>
          <p:cNvPr id="6" name="Slide Number Placeholder 5"/>
          <p:cNvSpPr>
            <a:spLocks noGrp="1"/>
          </p:cNvSpPr>
          <p:nvPr>
            <p:ph type="sldNum" sz="quarter" idx="12"/>
          </p:nvPr>
        </p:nvSpPr>
        <p:spPr/>
        <p:txBody>
          <a:bodyPr/>
          <a:lstStyle>
            <a:lvl1pPr defTabSz="914400" fontAlgn="base">
              <a:spcBef>
                <a:spcPct val="0"/>
              </a:spcBef>
              <a:spcAft>
                <a:spcPct val="0"/>
              </a:spcAft>
              <a:defRPr>
                <a:latin typeface="Gill Sans" charset="0"/>
                <a:ea typeface="ヒラギノ角ゴ ProN W3" charset="0"/>
                <a:cs typeface="ヒラギノ角ゴ ProN W3" charset="0"/>
              </a:defRPr>
            </a:lvl1pPr>
          </a:lstStyle>
          <a:p>
            <a:pPr>
              <a:defRPr/>
            </a:pPr>
            <a:fld id="{266D8442-EA46-4582-BF7C-1C7C539EA874}" type="slidenum">
              <a:rPr lang="en-US"/>
              <a:pPr>
                <a:defRPr/>
              </a:pPr>
              <a:t>‹#›</a:t>
            </a:fld>
            <a:endParaRPr lang="en-US"/>
          </a:p>
        </p:txBody>
      </p:sp>
    </p:spTree>
    <p:extLst>
      <p:ext uri="{BB962C8B-B14F-4D97-AF65-F5344CB8AC3E}">
        <p14:creationId xmlns:p14="http://schemas.microsoft.com/office/powerpoint/2010/main" val="9163035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49"/>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5666" indent="0" algn="ctr">
              <a:buNone/>
              <a:defRPr>
                <a:solidFill>
                  <a:schemeClr val="tx1">
                    <a:tint val="75000"/>
                  </a:schemeClr>
                </a:solidFill>
              </a:defRPr>
            </a:lvl2pPr>
            <a:lvl3pPr marL="911346" indent="0" algn="ctr">
              <a:buNone/>
              <a:defRPr>
                <a:solidFill>
                  <a:schemeClr val="tx1">
                    <a:tint val="75000"/>
                  </a:schemeClr>
                </a:solidFill>
              </a:defRPr>
            </a:lvl3pPr>
            <a:lvl4pPr marL="1367018" indent="0" algn="ctr">
              <a:buNone/>
              <a:defRPr>
                <a:solidFill>
                  <a:schemeClr val="tx1">
                    <a:tint val="75000"/>
                  </a:schemeClr>
                </a:solidFill>
              </a:defRPr>
            </a:lvl4pPr>
            <a:lvl5pPr marL="1822693" indent="0" algn="ctr">
              <a:buNone/>
              <a:defRPr>
                <a:solidFill>
                  <a:schemeClr val="tx1">
                    <a:tint val="75000"/>
                  </a:schemeClr>
                </a:solidFill>
              </a:defRPr>
            </a:lvl5pPr>
            <a:lvl6pPr marL="2278380" indent="0" algn="ctr">
              <a:buNone/>
              <a:defRPr>
                <a:solidFill>
                  <a:schemeClr val="tx1">
                    <a:tint val="75000"/>
                  </a:schemeClr>
                </a:solidFill>
              </a:defRPr>
            </a:lvl6pPr>
            <a:lvl7pPr marL="2734043" indent="0" algn="ctr">
              <a:buNone/>
              <a:defRPr>
                <a:solidFill>
                  <a:schemeClr val="tx1">
                    <a:tint val="75000"/>
                  </a:schemeClr>
                </a:solidFill>
              </a:defRPr>
            </a:lvl7pPr>
            <a:lvl8pPr marL="3189719" indent="0" algn="ctr">
              <a:buNone/>
              <a:defRPr>
                <a:solidFill>
                  <a:schemeClr val="tx1">
                    <a:tint val="75000"/>
                  </a:schemeClr>
                </a:solidFill>
              </a:defRPr>
            </a:lvl8pPr>
            <a:lvl9pPr marL="364539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F1BC9EB-85BF-4336-B445-EFFF3EAA42B0}" type="datetimeFigureOut">
              <a:rPr lang="en-US" smtClean="0">
                <a:solidFill>
                  <a:prstClr val="black">
                    <a:tint val="75000"/>
                  </a:prstClr>
                </a:solidFill>
              </a:rPr>
              <a:pPr/>
              <a:t>11/8/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AEFA189D-EEFC-4FE1-95C3-49DCC4D2F786}" type="slidenum">
              <a:rPr lang="en-US" sz="1000" smtClean="0">
                <a:solidFill>
                  <a:srgbClr val="000000"/>
                </a:solidFill>
                <a:latin typeface="Arial Narrow" pitchFamily="34" charset="0"/>
              </a:rPr>
              <a:pPr>
                <a:defRPr/>
              </a:pPr>
              <a:t>‹#›</a:t>
            </a:fld>
            <a:endParaRPr lang="en-US" sz="1000">
              <a:solidFill>
                <a:srgbClr val="000000"/>
              </a:solidFill>
              <a:latin typeface="Arial Narrow" pitchFamily="34" charset="0"/>
            </a:endParaRPr>
          </a:p>
        </p:txBody>
      </p:sp>
    </p:spTree>
    <p:extLst>
      <p:ext uri="{BB962C8B-B14F-4D97-AF65-F5344CB8AC3E}">
        <p14:creationId xmlns:p14="http://schemas.microsoft.com/office/powerpoint/2010/main" val="11526438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endParaRPr lang="en-US" sz="1000">
              <a:solidFill>
                <a:prstClr val="black"/>
              </a:solidFill>
            </a:endParaRPr>
          </a:p>
        </p:txBody>
      </p:sp>
      <p:sp>
        <p:nvSpPr>
          <p:cNvPr id="5" name="Footer Placeholder 4"/>
          <p:cNvSpPr>
            <a:spLocks noGrp="1"/>
          </p:cNvSpPr>
          <p:nvPr>
            <p:ph type="ftr" sz="quarter" idx="11"/>
          </p:nvPr>
        </p:nvSpPr>
        <p:spPr/>
        <p:txBody>
          <a:bodyPr/>
          <a:lstStyle/>
          <a:p>
            <a:pPr algn="r">
              <a:defRPr/>
            </a:pPr>
            <a:endParaRPr lang="en-US" sz="1000">
              <a:solidFill>
                <a:prstClr val="black"/>
              </a:solidFill>
            </a:endParaRPr>
          </a:p>
        </p:txBody>
      </p:sp>
      <p:sp>
        <p:nvSpPr>
          <p:cNvPr id="6" name="Slide Number Placeholder 5"/>
          <p:cNvSpPr>
            <a:spLocks noGrp="1"/>
          </p:cNvSpPr>
          <p:nvPr>
            <p:ph type="sldNum" sz="quarter" idx="12"/>
          </p:nvPr>
        </p:nvSpPr>
        <p:spPr/>
        <p:txBody>
          <a:bodyPr/>
          <a:lstStyle/>
          <a:p>
            <a:pPr>
              <a:defRPr/>
            </a:pPr>
            <a:fld id="{39BA7DB3-D47A-4D18-9026-FA4891D2F222}" type="slidenum">
              <a:rPr lang="en-US" sz="1000" smtClean="0">
                <a:solidFill>
                  <a:prstClr val="black"/>
                </a:solidFill>
              </a:rPr>
              <a:pPr>
                <a:defRPr/>
              </a:pPr>
              <a:t>‹#›</a:t>
            </a:fld>
            <a:endParaRPr lang="en-US" sz="1000">
              <a:solidFill>
                <a:prstClr val="black"/>
              </a:solidFill>
            </a:endParaRPr>
          </a:p>
        </p:txBody>
      </p:sp>
    </p:spTree>
    <p:extLst>
      <p:ext uri="{BB962C8B-B14F-4D97-AF65-F5344CB8AC3E}">
        <p14:creationId xmlns:p14="http://schemas.microsoft.com/office/powerpoint/2010/main" val="24180034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3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62"/>
            <a:ext cx="10363200" cy="1500187"/>
          </a:xfrm>
        </p:spPr>
        <p:txBody>
          <a:bodyPr anchor="b"/>
          <a:lstStyle>
            <a:lvl1pPr marL="0" indent="0">
              <a:buNone/>
              <a:defRPr sz="2000">
                <a:solidFill>
                  <a:schemeClr val="tx1">
                    <a:tint val="75000"/>
                  </a:schemeClr>
                </a:solidFill>
              </a:defRPr>
            </a:lvl1pPr>
            <a:lvl2pPr marL="455666" indent="0">
              <a:buNone/>
              <a:defRPr sz="1800">
                <a:solidFill>
                  <a:schemeClr val="tx1">
                    <a:tint val="75000"/>
                  </a:schemeClr>
                </a:solidFill>
              </a:defRPr>
            </a:lvl2pPr>
            <a:lvl3pPr marL="911346" indent="0">
              <a:buNone/>
              <a:defRPr sz="1600">
                <a:solidFill>
                  <a:schemeClr val="tx1">
                    <a:tint val="75000"/>
                  </a:schemeClr>
                </a:solidFill>
              </a:defRPr>
            </a:lvl3pPr>
            <a:lvl4pPr marL="1367018" indent="0">
              <a:buNone/>
              <a:defRPr sz="1400">
                <a:solidFill>
                  <a:schemeClr val="tx1">
                    <a:tint val="75000"/>
                  </a:schemeClr>
                </a:solidFill>
              </a:defRPr>
            </a:lvl4pPr>
            <a:lvl5pPr marL="1822693" indent="0">
              <a:buNone/>
              <a:defRPr sz="1400">
                <a:solidFill>
                  <a:schemeClr val="tx1">
                    <a:tint val="75000"/>
                  </a:schemeClr>
                </a:solidFill>
              </a:defRPr>
            </a:lvl5pPr>
            <a:lvl6pPr marL="2278380" indent="0">
              <a:buNone/>
              <a:defRPr sz="1400">
                <a:solidFill>
                  <a:schemeClr val="tx1">
                    <a:tint val="75000"/>
                  </a:schemeClr>
                </a:solidFill>
              </a:defRPr>
            </a:lvl6pPr>
            <a:lvl7pPr marL="2734043" indent="0">
              <a:buNone/>
              <a:defRPr sz="1400">
                <a:solidFill>
                  <a:schemeClr val="tx1">
                    <a:tint val="75000"/>
                  </a:schemeClr>
                </a:solidFill>
              </a:defRPr>
            </a:lvl7pPr>
            <a:lvl8pPr marL="3189719" indent="0">
              <a:buNone/>
              <a:defRPr sz="1400">
                <a:solidFill>
                  <a:schemeClr val="tx1">
                    <a:tint val="75000"/>
                  </a:schemeClr>
                </a:solidFill>
              </a:defRPr>
            </a:lvl8pPr>
            <a:lvl9pPr marL="3645391"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endParaRPr lang="en-US">
              <a:solidFill>
                <a:prstClr val="black"/>
              </a:solidFill>
            </a:endParaRPr>
          </a:p>
        </p:txBody>
      </p:sp>
      <p:sp>
        <p:nvSpPr>
          <p:cNvPr id="6" name="Slide Number Placeholder 5"/>
          <p:cNvSpPr>
            <a:spLocks noGrp="1"/>
          </p:cNvSpPr>
          <p:nvPr>
            <p:ph type="sldNum" sz="quarter" idx="12"/>
          </p:nvPr>
        </p:nvSpPr>
        <p:spPr/>
        <p:txBody>
          <a:bodyPr/>
          <a:lstStyle/>
          <a:p>
            <a:pPr>
              <a:defRPr/>
            </a:pPr>
            <a:fld id="{91740EFB-7D78-4EB3-BEA0-5D299F2C3DAB}" type="slidenum">
              <a:rPr lang="en-US" smtClean="0">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331133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28"/>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28"/>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a:defRPr/>
            </a:pPr>
            <a:endParaRPr lang="en-US" sz="1000">
              <a:solidFill>
                <a:prstClr val="black"/>
              </a:solidFill>
            </a:endParaRPr>
          </a:p>
        </p:txBody>
      </p:sp>
      <p:sp>
        <p:nvSpPr>
          <p:cNvPr id="6" name="Footer Placeholder 5"/>
          <p:cNvSpPr>
            <a:spLocks noGrp="1"/>
          </p:cNvSpPr>
          <p:nvPr>
            <p:ph type="ftr" sz="quarter" idx="11"/>
          </p:nvPr>
        </p:nvSpPr>
        <p:spPr/>
        <p:txBody>
          <a:bodyPr/>
          <a:lstStyle/>
          <a:p>
            <a:pPr algn="r">
              <a:defRPr/>
            </a:pPr>
            <a:endParaRPr lang="en-US" sz="1000">
              <a:solidFill>
                <a:prstClr val="black"/>
              </a:solidFill>
            </a:endParaRPr>
          </a:p>
        </p:txBody>
      </p:sp>
      <p:sp>
        <p:nvSpPr>
          <p:cNvPr id="7" name="Slide Number Placeholder 6"/>
          <p:cNvSpPr>
            <a:spLocks noGrp="1"/>
          </p:cNvSpPr>
          <p:nvPr>
            <p:ph type="sldNum" sz="quarter" idx="12"/>
          </p:nvPr>
        </p:nvSpPr>
        <p:spPr/>
        <p:txBody>
          <a:bodyPr/>
          <a:lstStyle/>
          <a:p>
            <a:pPr>
              <a:defRPr/>
            </a:pPr>
            <a:fld id="{E635E9AB-DBEF-48E3-A8B8-38E8FDA4E94E}" type="slidenum">
              <a:rPr lang="en-US" sz="1000" smtClean="0">
                <a:solidFill>
                  <a:prstClr val="black"/>
                </a:solidFill>
              </a:rPr>
              <a:pPr>
                <a:defRPr/>
              </a:pPr>
              <a:t>‹#›</a:t>
            </a:fld>
            <a:endParaRPr lang="en-US" sz="1000">
              <a:solidFill>
                <a:prstClr val="black"/>
              </a:solidFill>
            </a:endParaRPr>
          </a:p>
        </p:txBody>
      </p:sp>
    </p:spTree>
    <p:extLst>
      <p:ext uri="{BB962C8B-B14F-4D97-AF65-F5344CB8AC3E}">
        <p14:creationId xmlns:p14="http://schemas.microsoft.com/office/powerpoint/2010/main" val="27809789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7"/>
            <a:ext cx="5386917" cy="639762"/>
          </a:xfrm>
        </p:spPr>
        <p:txBody>
          <a:bodyPr anchor="b"/>
          <a:lstStyle>
            <a:lvl1pPr marL="0" indent="0">
              <a:buNone/>
              <a:defRPr sz="2400" b="1"/>
            </a:lvl1pPr>
            <a:lvl2pPr marL="455666" indent="0">
              <a:buNone/>
              <a:defRPr sz="2000" b="1"/>
            </a:lvl2pPr>
            <a:lvl3pPr marL="911346" indent="0">
              <a:buNone/>
              <a:defRPr sz="1800" b="1"/>
            </a:lvl3pPr>
            <a:lvl4pPr marL="1367018" indent="0">
              <a:buNone/>
              <a:defRPr sz="1600" b="1"/>
            </a:lvl4pPr>
            <a:lvl5pPr marL="1822693" indent="0">
              <a:buNone/>
              <a:defRPr sz="1600" b="1"/>
            </a:lvl5pPr>
            <a:lvl6pPr marL="2278380" indent="0">
              <a:buNone/>
              <a:defRPr sz="1600" b="1"/>
            </a:lvl6pPr>
            <a:lvl7pPr marL="2734043" indent="0">
              <a:buNone/>
              <a:defRPr sz="1600" b="1"/>
            </a:lvl7pPr>
            <a:lvl8pPr marL="3189719" indent="0">
              <a:buNone/>
              <a:defRPr sz="1600" b="1"/>
            </a:lvl8pPr>
            <a:lvl9pPr marL="3645391"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9"/>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80" y="1535117"/>
            <a:ext cx="5389033" cy="639762"/>
          </a:xfrm>
        </p:spPr>
        <p:txBody>
          <a:bodyPr anchor="b"/>
          <a:lstStyle>
            <a:lvl1pPr marL="0" indent="0">
              <a:buNone/>
              <a:defRPr sz="2400" b="1"/>
            </a:lvl1pPr>
            <a:lvl2pPr marL="455666" indent="0">
              <a:buNone/>
              <a:defRPr sz="2000" b="1"/>
            </a:lvl2pPr>
            <a:lvl3pPr marL="911346" indent="0">
              <a:buNone/>
              <a:defRPr sz="1800" b="1"/>
            </a:lvl3pPr>
            <a:lvl4pPr marL="1367018" indent="0">
              <a:buNone/>
              <a:defRPr sz="1600" b="1"/>
            </a:lvl4pPr>
            <a:lvl5pPr marL="1822693" indent="0">
              <a:buNone/>
              <a:defRPr sz="1600" b="1"/>
            </a:lvl5pPr>
            <a:lvl6pPr marL="2278380" indent="0">
              <a:buNone/>
              <a:defRPr sz="1600" b="1"/>
            </a:lvl6pPr>
            <a:lvl7pPr marL="2734043" indent="0">
              <a:buNone/>
              <a:defRPr sz="1600" b="1"/>
            </a:lvl7pPr>
            <a:lvl8pPr marL="3189719" indent="0">
              <a:buNone/>
              <a:defRPr sz="1600" b="1"/>
            </a:lvl8pPr>
            <a:lvl9pPr marL="364539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80" y="2174879"/>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F1BC9EB-85BF-4336-B445-EFFF3EAA42B0}" type="datetimeFigureOut">
              <a:rPr lang="en-US" smtClean="0">
                <a:solidFill>
                  <a:prstClr val="black">
                    <a:tint val="75000"/>
                  </a:prstClr>
                </a:solidFill>
              </a:rPr>
              <a:pPr/>
              <a:t>11/8/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a:defRPr/>
            </a:pPr>
            <a:fld id="{95A795BF-0864-4DFE-A6F6-4D21556673AD}" type="slidenum">
              <a:rPr lang="en-US" sz="1000" smtClean="0">
                <a:solidFill>
                  <a:srgbClr val="000000"/>
                </a:solidFill>
                <a:latin typeface="Arial Narrow" pitchFamily="34" charset="0"/>
              </a:rPr>
              <a:pPr>
                <a:defRPr/>
              </a:pPr>
              <a:t>‹#›</a:t>
            </a:fld>
            <a:endParaRPr lang="en-US" sz="1000">
              <a:solidFill>
                <a:srgbClr val="000000"/>
              </a:solidFill>
              <a:latin typeface="Arial Narrow" pitchFamily="34" charset="0"/>
            </a:endParaRPr>
          </a:p>
        </p:txBody>
      </p:sp>
    </p:spTree>
    <p:extLst>
      <p:ext uri="{BB962C8B-B14F-4D97-AF65-F5344CB8AC3E}">
        <p14:creationId xmlns:p14="http://schemas.microsoft.com/office/powerpoint/2010/main" val="2160319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F1BC9EB-85BF-4336-B445-EFFF3EAA42B0}" type="datetimeFigureOut">
              <a:rPr lang="en-US" smtClean="0">
                <a:solidFill>
                  <a:prstClr val="black">
                    <a:tint val="75000"/>
                  </a:prstClr>
                </a:solidFill>
              </a:rPr>
              <a:pPr/>
              <a:t>11/8/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a:defRPr/>
            </a:pPr>
            <a:fld id="{6D0A3329-2CF7-455E-BE5E-B74A3BE86623}" type="slidenum">
              <a:rPr lang="en-US" sz="1000" smtClean="0">
                <a:solidFill>
                  <a:srgbClr val="000000"/>
                </a:solidFill>
                <a:latin typeface="Arial Narrow" pitchFamily="34" charset="0"/>
              </a:rPr>
              <a:pPr>
                <a:defRPr/>
              </a:pPr>
              <a:t>‹#›</a:t>
            </a:fld>
            <a:endParaRPr lang="en-US" sz="1000">
              <a:solidFill>
                <a:srgbClr val="000000"/>
              </a:solidFill>
              <a:latin typeface="Arial Narrow" pitchFamily="34" charset="0"/>
            </a:endParaRPr>
          </a:p>
        </p:txBody>
      </p:sp>
    </p:spTree>
    <p:extLst>
      <p:ext uri="{BB962C8B-B14F-4D97-AF65-F5344CB8AC3E}">
        <p14:creationId xmlns:p14="http://schemas.microsoft.com/office/powerpoint/2010/main" val="7437113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5EB5756-87DA-4E20-A88D-B591C9CC1F36}" type="datetimeFigureOut">
              <a:rPr lang="en-US" smtClean="0">
                <a:solidFill>
                  <a:prstClr val="black">
                    <a:tint val="75000"/>
                  </a:prstClr>
                </a:solidFill>
              </a:rPr>
              <a:pPr/>
              <a:t>11/8/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2E1A982-B1F1-4649-A26A-8AB1DEE5E80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300412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US" sz="1000">
              <a:solidFill>
                <a:prstClr val="black"/>
              </a:solidFill>
            </a:endParaRPr>
          </a:p>
        </p:txBody>
      </p:sp>
      <p:sp>
        <p:nvSpPr>
          <p:cNvPr id="3" name="Footer Placeholder 2"/>
          <p:cNvSpPr>
            <a:spLocks noGrp="1"/>
          </p:cNvSpPr>
          <p:nvPr>
            <p:ph type="ftr" sz="quarter" idx="11"/>
          </p:nvPr>
        </p:nvSpPr>
        <p:spPr/>
        <p:txBody>
          <a:bodyPr/>
          <a:lstStyle/>
          <a:p>
            <a:pPr algn="r">
              <a:defRPr/>
            </a:pPr>
            <a:endParaRPr lang="en-US" sz="1000">
              <a:solidFill>
                <a:prstClr val="black"/>
              </a:solidFill>
            </a:endParaRPr>
          </a:p>
        </p:txBody>
      </p:sp>
      <p:sp>
        <p:nvSpPr>
          <p:cNvPr id="4" name="Slide Number Placeholder 3"/>
          <p:cNvSpPr>
            <a:spLocks noGrp="1"/>
          </p:cNvSpPr>
          <p:nvPr>
            <p:ph type="sldNum" sz="quarter" idx="12"/>
          </p:nvPr>
        </p:nvSpPr>
        <p:spPr/>
        <p:txBody>
          <a:bodyPr/>
          <a:lstStyle/>
          <a:p>
            <a:pPr>
              <a:defRPr/>
            </a:pPr>
            <a:fld id="{0FA090EC-83E9-439D-862A-ECFD2113C52A}" type="slidenum">
              <a:rPr lang="en-US" sz="1000" smtClean="0">
                <a:solidFill>
                  <a:prstClr val="black"/>
                </a:solidFill>
              </a:rPr>
              <a:pPr>
                <a:defRPr/>
              </a:pPr>
              <a:t>‹#›</a:t>
            </a:fld>
            <a:endParaRPr lang="en-US" sz="1000">
              <a:solidFill>
                <a:prstClr val="black"/>
              </a:solidFill>
            </a:endParaRPr>
          </a:p>
        </p:txBody>
      </p:sp>
    </p:spTree>
    <p:extLst>
      <p:ext uri="{BB962C8B-B14F-4D97-AF65-F5344CB8AC3E}">
        <p14:creationId xmlns:p14="http://schemas.microsoft.com/office/powerpoint/2010/main" val="4686691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3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100"/>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31" y="1435113"/>
            <a:ext cx="4011084" cy="4691063"/>
          </a:xfrm>
        </p:spPr>
        <p:txBody>
          <a:bodyPr/>
          <a:lstStyle>
            <a:lvl1pPr marL="0" indent="0">
              <a:buNone/>
              <a:defRPr sz="1400"/>
            </a:lvl1pPr>
            <a:lvl2pPr marL="455666" indent="0">
              <a:buNone/>
              <a:defRPr sz="1200"/>
            </a:lvl2pPr>
            <a:lvl3pPr marL="911346" indent="0">
              <a:buNone/>
              <a:defRPr sz="1000"/>
            </a:lvl3pPr>
            <a:lvl4pPr marL="1367018" indent="0">
              <a:buNone/>
              <a:defRPr sz="900"/>
            </a:lvl4pPr>
            <a:lvl5pPr marL="1822693" indent="0">
              <a:buNone/>
              <a:defRPr sz="900"/>
            </a:lvl5pPr>
            <a:lvl6pPr marL="2278380" indent="0">
              <a:buNone/>
              <a:defRPr sz="900"/>
            </a:lvl6pPr>
            <a:lvl7pPr marL="2734043" indent="0">
              <a:buNone/>
              <a:defRPr sz="900"/>
            </a:lvl7pPr>
            <a:lvl8pPr marL="3189719" indent="0">
              <a:buNone/>
              <a:defRPr sz="900"/>
            </a:lvl8pPr>
            <a:lvl9pPr marL="364539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F1BC9EB-85BF-4336-B445-EFFF3EAA42B0}" type="datetimeFigureOut">
              <a:rPr lang="en-US" smtClean="0">
                <a:solidFill>
                  <a:prstClr val="black">
                    <a:tint val="75000"/>
                  </a:prstClr>
                </a:solidFill>
              </a:rPr>
              <a:pPr/>
              <a:t>11/8/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a:defRPr/>
            </a:pPr>
            <a:fld id="{7EFA7EC5-CE05-4DFF-9EFE-4F4F03E72C6B}" type="slidenum">
              <a:rPr lang="en-US" sz="1000" smtClean="0">
                <a:solidFill>
                  <a:srgbClr val="000000"/>
                </a:solidFill>
                <a:latin typeface="Arial Narrow" pitchFamily="34" charset="0"/>
              </a:rPr>
              <a:pPr>
                <a:defRPr/>
              </a:pPr>
              <a:t>‹#›</a:t>
            </a:fld>
            <a:endParaRPr lang="en-US" sz="1000">
              <a:solidFill>
                <a:srgbClr val="000000"/>
              </a:solidFill>
              <a:latin typeface="Arial Narrow" pitchFamily="34" charset="0"/>
            </a:endParaRPr>
          </a:p>
        </p:txBody>
      </p:sp>
    </p:spTree>
    <p:extLst>
      <p:ext uri="{BB962C8B-B14F-4D97-AF65-F5344CB8AC3E}">
        <p14:creationId xmlns:p14="http://schemas.microsoft.com/office/powerpoint/2010/main" val="323511360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4"/>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5666" indent="0">
              <a:buNone/>
              <a:defRPr sz="2800"/>
            </a:lvl2pPr>
            <a:lvl3pPr marL="911346" indent="0">
              <a:buNone/>
              <a:defRPr sz="2400"/>
            </a:lvl3pPr>
            <a:lvl4pPr marL="1367018" indent="0">
              <a:buNone/>
              <a:defRPr sz="2000"/>
            </a:lvl4pPr>
            <a:lvl5pPr marL="1822693" indent="0">
              <a:buNone/>
              <a:defRPr sz="2000"/>
            </a:lvl5pPr>
            <a:lvl6pPr marL="2278380" indent="0">
              <a:buNone/>
              <a:defRPr sz="2000"/>
            </a:lvl6pPr>
            <a:lvl7pPr marL="2734043" indent="0">
              <a:buNone/>
              <a:defRPr sz="2000"/>
            </a:lvl7pPr>
            <a:lvl8pPr marL="3189719" indent="0">
              <a:buNone/>
              <a:defRPr sz="2000"/>
            </a:lvl8pPr>
            <a:lvl9pPr marL="3645391" indent="0">
              <a:buNone/>
              <a:defRPr sz="2000"/>
            </a:lvl9pPr>
          </a:lstStyle>
          <a:p>
            <a:endParaRPr lang="en-US"/>
          </a:p>
        </p:txBody>
      </p:sp>
      <p:sp>
        <p:nvSpPr>
          <p:cNvPr id="4" name="Text Placeholder 3"/>
          <p:cNvSpPr>
            <a:spLocks noGrp="1"/>
          </p:cNvSpPr>
          <p:nvPr>
            <p:ph type="body" sz="half" idx="2"/>
          </p:nvPr>
        </p:nvSpPr>
        <p:spPr>
          <a:xfrm>
            <a:off x="2389717" y="5367342"/>
            <a:ext cx="7315200" cy="804862"/>
          </a:xfrm>
        </p:spPr>
        <p:txBody>
          <a:bodyPr/>
          <a:lstStyle>
            <a:lvl1pPr marL="0" indent="0">
              <a:buNone/>
              <a:defRPr sz="1400"/>
            </a:lvl1pPr>
            <a:lvl2pPr marL="455666" indent="0">
              <a:buNone/>
              <a:defRPr sz="1200"/>
            </a:lvl2pPr>
            <a:lvl3pPr marL="911346" indent="0">
              <a:buNone/>
              <a:defRPr sz="1000"/>
            </a:lvl3pPr>
            <a:lvl4pPr marL="1367018" indent="0">
              <a:buNone/>
              <a:defRPr sz="900"/>
            </a:lvl4pPr>
            <a:lvl5pPr marL="1822693" indent="0">
              <a:buNone/>
              <a:defRPr sz="900"/>
            </a:lvl5pPr>
            <a:lvl6pPr marL="2278380" indent="0">
              <a:buNone/>
              <a:defRPr sz="900"/>
            </a:lvl6pPr>
            <a:lvl7pPr marL="2734043" indent="0">
              <a:buNone/>
              <a:defRPr sz="900"/>
            </a:lvl7pPr>
            <a:lvl8pPr marL="3189719" indent="0">
              <a:buNone/>
              <a:defRPr sz="900"/>
            </a:lvl8pPr>
            <a:lvl9pPr marL="364539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endParaRPr lang="en-US">
              <a:solidFill>
                <a:prstClr val="black"/>
              </a:solidFill>
            </a:endParaRPr>
          </a:p>
        </p:txBody>
      </p:sp>
      <p:sp>
        <p:nvSpPr>
          <p:cNvPr id="6" name="Footer Placeholder 5"/>
          <p:cNvSpPr>
            <a:spLocks noGrp="1"/>
          </p:cNvSpPr>
          <p:nvPr>
            <p:ph type="ftr" sz="quarter" idx="11"/>
          </p:nvPr>
        </p:nvSpPr>
        <p:spPr/>
        <p:txBody>
          <a:bodyPr/>
          <a:lstStyle/>
          <a:p>
            <a:pPr>
              <a:defRPr/>
            </a:pPr>
            <a:endParaRPr lang="en-US">
              <a:solidFill>
                <a:prstClr val="black"/>
              </a:solidFill>
            </a:endParaRPr>
          </a:p>
        </p:txBody>
      </p:sp>
      <p:sp>
        <p:nvSpPr>
          <p:cNvPr id="7" name="Slide Number Placeholder 6"/>
          <p:cNvSpPr>
            <a:spLocks noGrp="1"/>
          </p:cNvSpPr>
          <p:nvPr>
            <p:ph type="sldNum" sz="quarter" idx="12"/>
          </p:nvPr>
        </p:nvSpPr>
        <p:spPr/>
        <p:txBody>
          <a:bodyPr/>
          <a:lstStyle/>
          <a:p>
            <a:pPr>
              <a:defRPr/>
            </a:pPr>
            <a:fld id="{91740EFB-7D78-4EB3-BEA0-5D299F2C3DAB}" type="slidenum">
              <a:rPr lang="en-US" smtClean="0">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92819289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endParaRPr lang="en-US" sz="1000">
              <a:solidFill>
                <a:prstClr val="black"/>
              </a:solidFill>
            </a:endParaRPr>
          </a:p>
        </p:txBody>
      </p:sp>
      <p:sp>
        <p:nvSpPr>
          <p:cNvPr id="5" name="Footer Placeholder 4"/>
          <p:cNvSpPr>
            <a:spLocks noGrp="1"/>
          </p:cNvSpPr>
          <p:nvPr>
            <p:ph type="ftr" sz="quarter" idx="11"/>
          </p:nvPr>
        </p:nvSpPr>
        <p:spPr/>
        <p:txBody>
          <a:bodyPr/>
          <a:lstStyle/>
          <a:p>
            <a:pPr algn="r">
              <a:defRPr/>
            </a:pPr>
            <a:endParaRPr lang="en-US" sz="1000">
              <a:solidFill>
                <a:prstClr val="black"/>
              </a:solidFill>
            </a:endParaRPr>
          </a:p>
        </p:txBody>
      </p:sp>
      <p:sp>
        <p:nvSpPr>
          <p:cNvPr id="6" name="Slide Number Placeholder 5"/>
          <p:cNvSpPr>
            <a:spLocks noGrp="1"/>
          </p:cNvSpPr>
          <p:nvPr>
            <p:ph type="sldNum" sz="quarter" idx="12"/>
          </p:nvPr>
        </p:nvSpPr>
        <p:spPr/>
        <p:txBody>
          <a:bodyPr/>
          <a:lstStyle/>
          <a:p>
            <a:pPr>
              <a:defRPr/>
            </a:pPr>
            <a:fld id="{16130658-E312-44AA-BA5C-A73A19D40F4C}" type="slidenum">
              <a:rPr lang="en-US" sz="1000" smtClean="0">
                <a:solidFill>
                  <a:prstClr val="black"/>
                </a:solidFill>
              </a:rPr>
              <a:pPr>
                <a:defRPr/>
              </a:pPr>
              <a:t>‹#›</a:t>
            </a:fld>
            <a:endParaRPr lang="en-US" sz="1000">
              <a:solidFill>
                <a:prstClr val="black"/>
              </a:solidFill>
            </a:endParaRPr>
          </a:p>
        </p:txBody>
      </p:sp>
    </p:spTree>
    <p:extLst>
      <p:ext uri="{BB962C8B-B14F-4D97-AF65-F5344CB8AC3E}">
        <p14:creationId xmlns:p14="http://schemas.microsoft.com/office/powerpoint/2010/main" val="12318108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88"/>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88"/>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endParaRPr lang="en-US" sz="1000">
              <a:solidFill>
                <a:prstClr val="black"/>
              </a:solidFill>
            </a:endParaRPr>
          </a:p>
        </p:txBody>
      </p:sp>
      <p:sp>
        <p:nvSpPr>
          <p:cNvPr id="5" name="Footer Placeholder 4"/>
          <p:cNvSpPr>
            <a:spLocks noGrp="1"/>
          </p:cNvSpPr>
          <p:nvPr>
            <p:ph type="ftr" sz="quarter" idx="11"/>
          </p:nvPr>
        </p:nvSpPr>
        <p:spPr/>
        <p:txBody>
          <a:bodyPr/>
          <a:lstStyle/>
          <a:p>
            <a:pPr algn="r">
              <a:defRPr/>
            </a:pPr>
            <a:endParaRPr lang="en-US" sz="1000">
              <a:solidFill>
                <a:prstClr val="black"/>
              </a:solidFill>
            </a:endParaRPr>
          </a:p>
        </p:txBody>
      </p:sp>
      <p:sp>
        <p:nvSpPr>
          <p:cNvPr id="6" name="Slide Number Placeholder 5"/>
          <p:cNvSpPr>
            <a:spLocks noGrp="1"/>
          </p:cNvSpPr>
          <p:nvPr>
            <p:ph type="sldNum" sz="quarter" idx="12"/>
          </p:nvPr>
        </p:nvSpPr>
        <p:spPr/>
        <p:txBody>
          <a:bodyPr/>
          <a:lstStyle/>
          <a:p>
            <a:pPr>
              <a:defRPr/>
            </a:pPr>
            <a:fld id="{43CDFA36-ADEB-478F-9660-8A964FB0F575}" type="slidenum">
              <a:rPr lang="en-US" sz="1000" smtClean="0">
                <a:solidFill>
                  <a:prstClr val="black"/>
                </a:solidFill>
              </a:rPr>
              <a:pPr>
                <a:defRPr/>
              </a:pPr>
              <a:t>‹#›</a:t>
            </a:fld>
            <a:endParaRPr lang="en-US" sz="1000">
              <a:solidFill>
                <a:prstClr val="black"/>
              </a:solidFill>
            </a:endParaRPr>
          </a:p>
        </p:txBody>
      </p:sp>
    </p:spTree>
    <p:extLst>
      <p:ext uri="{BB962C8B-B14F-4D97-AF65-F5344CB8AC3E}">
        <p14:creationId xmlns:p14="http://schemas.microsoft.com/office/powerpoint/2010/main" val="337080422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7">
            <a:extLst>
              <a:ext uri="{FF2B5EF4-FFF2-40B4-BE49-F238E27FC236}">
                <a16:creationId xmlns:a16="http://schemas.microsoft.com/office/drawing/2014/main" id="{3E7E70A7-5615-504A-A881-12376D0005FD}"/>
              </a:ext>
            </a:extLst>
          </p:cNvPr>
          <p:cNvGrpSpPr>
            <a:grpSpLocks/>
          </p:cNvGrpSpPr>
          <p:nvPr/>
        </p:nvGrpSpPr>
        <p:grpSpPr bwMode="auto">
          <a:xfrm>
            <a:off x="0" y="0"/>
            <a:ext cx="12192000" cy="6858000"/>
            <a:chOff x="0" y="0"/>
            <a:chExt cx="12192000" cy="6858000"/>
          </a:xfrm>
        </p:grpSpPr>
        <p:sp>
          <p:nvSpPr>
            <p:cNvPr id="5" name="Rectangle 4">
              <a:extLst>
                <a:ext uri="{FF2B5EF4-FFF2-40B4-BE49-F238E27FC236}">
                  <a16:creationId xmlns:a16="http://schemas.microsoft.com/office/drawing/2014/main" id="{821C42FD-9D9E-FC45-A0E4-E01BA1AA8371}"/>
                </a:ext>
              </a:extLst>
            </p:cNvPr>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6" name="Oval 5">
              <a:extLst>
                <a:ext uri="{FF2B5EF4-FFF2-40B4-BE49-F238E27FC236}">
                  <a16:creationId xmlns:a16="http://schemas.microsoft.com/office/drawing/2014/main" id="{3EDCF943-5EF9-424B-A134-CFB4A0C4F3BB}"/>
                </a:ext>
              </a:extLst>
            </p:cNvPr>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Freeform 5">
              <a:extLst>
                <a:ext uri="{FF2B5EF4-FFF2-40B4-BE49-F238E27FC236}">
                  <a16:creationId xmlns:a16="http://schemas.microsoft.com/office/drawing/2014/main" id="{B1F0CDF0-08D5-A84E-AD58-75D190307807}"/>
                </a:ext>
              </a:extLst>
            </p:cNvPr>
            <p:cNvSpPr>
              <a:spLocks noEditPoints="1"/>
            </p:cNvSpPr>
            <p:nvPr/>
          </p:nvSpPr>
          <p:spPr bwMode="gray">
            <a:xfrm>
              <a:off x="0" y="1587"/>
              <a:ext cx="12192000" cy="6856413"/>
            </a:xfrm>
            <a:custGeom>
              <a:avLst/>
              <a:gdLst>
                <a:gd name="T0" fmla="*/ 0 w 15356"/>
                <a:gd name="T1" fmla="*/ 0 h 8638"/>
                <a:gd name="T2" fmla="*/ 0 w 15356"/>
                <a:gd name="T3" fmla="*/ 2147483646 h 8638"/>
                <a:gd name="T4" fmla="*/ 2147483646 w 15356"/>
                <a:gd name="T5" fmla="*/ 2147483646 h 8638"/>
                <a:gd name="T6" fmla="*/ 2147483646 w 15356"/>
                <a:gd name="T7" fmla="*/ 0 h 8638"/>
                <a:gd name="T8" fmla="*/ 0 w 15356"/>
                <a:gd name="T9" fmla="*/ 0 h 8638"/>
                <a:gd name="T10" fmla="*/ 2147483646 w 15356"/>
                <a:gd name="T11" fmla="*/ 2147483646 h 8638"/>
                <a:gd name="T12" fmla="*/ 378220357 w 15356"/>
                <a:gd name="T13" fmla="*/ 2147483646 h 8638"/>
                <a:gd name="T14" fmla="*/ 378220357 w 15356"/>
                <a:gd name="T15" fmla="*/ 372983152 h 8638"/>
                <a:gd name="T16" fmla="*/ 2147483646 w 15356"/>
                <a:gd name="T17" fmla="*/ 372983152 h 8638"/>
                <a:gd name="T18" fmla="*/ 2147483646 w 15356"/>
                <a:gd name="T19" fmla="*/ 2147483646 h 86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8" name="Rectangle 7">
            <a:extLst>
              <a:ext uri="{FF2B5EF4-FFF2-40B4-BE49-F238E27FC236}">
                <a16:creationId xmlns:a16="http://schemas.microsoft.com/office/drawing/2014/main" id="{807C8E87-A57D-E844-BC8A-D2D8B102492F}"/>
              </a:ext>
            </a:extLst>
          </p:cNvPr>
          <p:cNvSpPr/>
          <p:nvPr/>
        </p:nvSpPr>
        <p:spPr>
          <a:xfrm>
            <a:off x="10437813"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pic>
        <p:nvPicPr>
          <p:cNvPr id="9" name="Picture 28">
            <a:extLst>
              <a:ext uri="{FF2B5EF4-FFF2-40B4-BE49-F238E27FC236}">
                <a16:creationId xmlns:a16="http://schemas.microsoft.com/office/drawing/2014/main" id="{CC899603-40E5-D246-8EB3-925EEF22613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615114" y="5616575"/>
            <a:ext cx="48133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154955" y="1861197"/>
            <a:ext cx="8825659" cy="2677648"/>
          </a:xfrm>
        </p:spPr>
        <p:txBody>
          <a:bodyPr anchor="b"/>
          <a:lstStyle>
            <a:lvl1pPr>
              <a:defRPr sz="4050"/>
            </a:lvl1pPr>
          </a:lstStyle>
          <a:p>
            <a:r>
              <a:rPr lang="en-US" dirty="0"/>
              <a:t>Click to edit Master title style</a:t>
            </a:r>
          </a:p>
        </p:txBody>
      </p:sp>
      <p:sp>
        <p:nvSpPr>
          <p:cNvPr id="3" name="Subtitle 2"/>
          <p:cNvSpPr>
            <a:spLocks noGrp="1"/>
          </p:cNvSpPr>
          <p:nvPr>
            <p:ph type="subTitle" idx="1"/>
          </p:nvPr>
        </p:nvSpPr>
        <p:spPr>
          <a:xfrm>
            <a:off x="1154955" y="4538844"/>
            <a:ext cx="8825659" cy="861420"/>
          </a:xfrm>
        </p:spPr>
        <p:txBody>
          <a:bodyPr/>
          <a:lstStyle>
            <a:lvl1pPr marL="0" indent="0" algn="l">
              <a:buNone/>
              <a:defRPr cap="all">
                <a:solidFill>
                  <a:schemeClr val="accent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
        <p:nvSpPr>
          <p:cNvPr id="10" name="Footer Placeholder 4">
            <a:extLst>
              <a:ext uri="{FF2B5EF4-FFF2-40B4-BE49-F238E27FC236}">
                <a16:creationId xmlns:a16="http://schemas.microsoft.com/office/drawing/2014/main" id="{4FBAB275-11A3-C548-A68C-ACF1C503582D}"/>
              </a:ext>
            </a:extLst>
          </p:cNvPr>
          <p:cNvSpPr>
            <a:spLocks noGrp="1"/>
          </p:cNvSpPr>
          <p:nvPr>
            <p:ph type="ftr" sz="quarter" idx="10"/>
          </p:nvPr>
        </p:nvSpPr>
        <p:spPr>
          <a:xfrm rot="5400000">
            <a:off x="8960645" y="3226594"/>
            <a:ext cx="3859212" cy="304800"/>
          </a:xfrm>
        </p:spPr>
        <p:txBody>
          <a:bodyPr/>
          <a:lstStyle>
            <a:lvl1pPr>
              <a:defRPr b="0" i="0">
                <a:solidFill>
                  <a:schemeClr val="bg1"/>
                </a:solidFill>
              </a:defRPr>
            </a:lvl1pPr>
          </a:lstStyle>
          <a:p>
            <a:pPr>
              <a:defRPr/>
            </a:pPr>
            <a:endParaRPr lang="en-US"/>
          </a:p>
        </p:txBody>
      </p:sp>
    </p:spTree>
    <p:extLst>
      <p:ext uri="{BB962C8B-B14F-4D97-AF65-F5344CB8AC3E}">
        <p14:creationId xmlns:p14="http://schemas.microsoft.com/office/powerpoint/2010/main" val="41592917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17">
            <a:extLst>
              <a:ext uri="{FF2B5EF4-FFF2-40B4-BE49-F238E27FC236}">
                <a16:creationId xmlns:a16="http://schemas.microsoft.com/office/drawing/2014/main" id="{C8F92609-A618-2A40-A66A-95996B231D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47277" y="5864227"/>
            <a:ext cx="2009775"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1154955" y="2523988"/>
            <a:ext cx="8761412" cy="34163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4A32752A-43B1-6043-B996-D85E0198E49E}"/>
              </a:ext>
            </a:extLst>
          </p:cNvPr>
          <p:cNvSpPr>
            <a:spLocks noGrp="1"/>
          </p:cNvSpPr>
          <p:nvPr>
            <p:ph type="ftr" sz="quarter" idx="10"/>
          </p:nvPr>
        </p:nvSpPr>
        <p:spPr/>
        <p:txBody>
          <a:bodyPr/>
          <a:lstStyle>
            <a:lvl1pPr>
              <a:defRPr/>
            </a:lvl1pPr>
          </a:lstStyle>
          <a:p>
            <a:pPr>
              <a:defRPr/>
            </a:pPr>
            <a:endParaRPr lang="en-US"/>
          </a:p>
        </p:txBody>
      </p:sp>
    </p:spTree>
    <p:extLst>
      <p:ext uri="{BB962C8B-B14F-4D97-AF65-F5344CB8AC3E}">
        <p14:creationId xmlns:p14="http://schemas.microsoft.com/office/powerpoint/2010/main" val="39353872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4" name="Group 17">
            <a:extLst>
              <a:ext uri="{FF2B5EF4-FFF2-40B4-BE49-F238E27FC236}">
                <a16:creationId xmlns:a16="http://schemas.microsoft.com/office/drawing/2014/main" id="{8A6CEF79-9D20-DE4E-8CCD-32EF5205F1B2}"/>
              </a:ext>
            </a:extLst>
          </p:cNvPr>
          <p:cNvGrpSpPr>
            <a:grpSpLocks/>
          </p:cNvGrpSpPr>
          <p:nvPr/>
        </p:nvGrpSpPr>
        <p:grpSpPr bwMode="auto">
          <a:xfrm>
            <a:off x="0" y="-1588"/>
            <a:ext cx="12192000" cy="6865938"/>
            <a:chOff x="0" y="-2373"/>
            <a:chExt cx="12192000" cy="6867027"/>
          </a:xfrm>
        </p:grpSpPr>
        <p:sp>
          <p:nvSpPr>
            <p:cNvPr id="5" name="Rectangle 4">
              <a:extLst>
                <a:ext uri="{FF2B5EF4-FFF2-40B4-BE49-F238E27FC236}">
                  <a16:creationId xmlns:a16="http://schemas.microsoft.com/office/drawing/2014/main" id="{CC89CE57-B009-5A4B-ACEE-D311DDCC90EB}"/>
                </a:ext>
              </a:extLst>
            </p:cNvPr>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6" name="Oval 5">
              <a:extLst>
                <a:ext uri="{FF2B5EF4-FFF2-40B4-BE49-F238E27FC236}">
                  <a16:creationId xmlns:a16="http://schemas.microsoft.com/office/drawing/2014/main" id="{42944E2B-1194-C143-B156-091EDF0C98D2}"/>
                </a:ext>
              </a:extLst>
            </p:cNvPr>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Oval 6">
              <a:extLst>
                <a:ext uri="{FF2B5EF4-FFF2-40B4-BE49-F238E27FC236}">
                  <a16:creationId xmlns:a16="http://schemas.microsoft.com/office/drawing/2014/main" id="{901DD9E9-CEA1-6440-8DD0-4529F1D977A5}"/>
                </a:ext>
              </a:extLst>
            </p:cNvPr>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Oval 7">
              <a:extLst>
                <a:ext uri="{FF2B5EF4-FFF2-40B4-BE49-F238E27FC236}">
                  <a16:creationId xmlns:a16="http://schemas.microsoft.com/office/drawing/2014/main" id="{471A6625-545A-0C4E-A327-230AF483048E}"/>
                </a:ext>
              </a:extLst>
            </p:cNvPr>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9" name="Oval 8">
              <a:extLst>
                <a:ext uri="{FF2B5EF4-FFF2-40B4-BE49-F238E27FC236}">
                  <a16:creationId xmlns:a16="http://schemas.microsoft.com/office/drawing/2014/main" id="{B13768E3-9CB6-BA46-8EA5-5F877185648A}"/>
                </a:ext>
              </a:extLst>
            </p:cNvPr>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0" name="Oval 9">
              <a:extLst>
                <a:ext uri="{FF2B5EF4-FFF2-40B4-BE49-F238E27FC236}">
                  <a16:creationId xmlns:a16="http://schemas.microsoft.com/office/drawing/2014/main" id="{92E75C37-3572-F444-B94E-942E19A0B1CB}"/>
                </a:ext>
              </a:extLst>
            </p:cNvPr>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1" name="Rectangle 10">
              <a:extLst>
                <a:ext uri="{FF2B5EF4-FFF2-40B4-BE49-F238E27FC236}">
                  <a16:creationId xmlns:a16="http://schemas.microsoft.com/office/drawing/2014/main" id="{DB957141-5E45-A342-AB8A-01884C41F4FA}"/>
                </a:ext>
              </a:extLst>
            </p:cNvPr>
            <p:cNvSpPr/>
            <p:nvPr/>
          </p:nvSpPr>
          <p:spPr>
            <a:xfrm>
              <a:off x="7289800" y="402504"/>
              <a:ext cx="4478338" cy="605409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2" name="Freeform 5">
              <a:extLst>
                <a:ext uri="{FF2B5EF4-FFF2-40B4-BE49-F238E27FC236}">
                  <a16:creationId xmlns:a16="http://schemas.microsoft.com/office/drawing/2014/main" id="{9D6DCBA3-399B-A74A-B642-C370D304EF25}"/>
                </a:ext>
              </a:extLst>
            </p:cNvPr>
            <p:cNvSpPr>
              <a:spLocks/>
            </p:cNvSpPr>
            <p:nvPr/>
          </p:nvSpPr>
          <p:spPr bwMode="gray">
            <a:xfrm rot="-5677511">
              <a:off x="4698352" y="1826078"/>
              <a:ext cx="3299407" cy="440924"/>
            </a:xfrm>
            <a:custGeom>
              <a:avLst/>
              <a:gdLst>
                <a:gd name="T0" fmla="*/ 9253187 w 10000"/>
                <a:gd name="T1" fmla="*/ 17583959 h 5291"/>
                <a:gd name="T2" fmla="*/ 1084036337 w 10000"/>
                <a:gd name="T3" fmla="*/ 36744278 h 5291"/>
                <a:gd name="T4" fmla="*/ 1088608655 w 10000"/>
                <a:gd name="T5" fmla="*/ 0 h 5291"/>
                <a:gd name="T6" fmla="*/ 1088608655 w 10000"/>
                <a:gd name="T7" fmla="*/ 0 h 5291"/>
                <a:gd name="T8" fmla="*/ 1052358070 w 10000"/>
                <a:gd name="T9" fmla="*/ 1416690 h 5291"/>
                <a:gd name="T10" fmla="*/ 1016107156 w 10000"/>
                <a:gd name="T11" fmla="*/ 2777880 h 5291"/>
                <a:gd name="T12" fmla="*/ 979856571 w 10000"/>
                <a:gd name="T13" fmla="*/ 4097318 h 5291"/>
                <a:gd name="T14" fmla="*/ 943497106 w 10000"/>
                <a:gd name="T15" fmla="*/ 5229337 h 5291"/>
                <a:gd name="T16" fmla="*/ 907137641 w 10000"/>
                <a:gd name="T17" fmla="*/ 6368273 h 5291"/>
                <a:gd name="T18" fmla="*/ 870778176 w 10000"/>
                <a:gd name="T19" fmla="*/ 7437707 h 5291"/>
                <a:gd name="T20" fmla="*/ 834853902 w 10000"/>
                <a:gd name="T21" fmla="*/ 8347472 h 5291"/>
                <a:gd name="T22" fmla="*/ 798276676 w 10000"/>
                <a:gd name="T23" fmla="*/ 9201736 h 5291"/>
                <a:gd name="T24" fmla="*/ 762026092 w 10000"/>
                <a:gd name="T25" fmla="*/ 10000333 h 5291"/>
                <a:gd name="T26" fmla="*/ 726428460 w 10000"/>
                <a:gd name="T27" fmla="*/ 10680928 h 5291"/>
                <a:gd name="T28" fmla="*/ 690177875 w 10000"/>
                <a:gd name="T29" fmla="*/ 11361522 h 5291"/>
                <a:gd name="T30" fmla="*/ 654580243 w 10000"/>
                <a:gd name="T31" fmla="*/ 11937865 h 5291"/>
                <a:gd name="T32" fmla="*/ 618982941 w 10000"/>
                <a:gd name="T33" fmla="*/ 12389289 h 5291"/>
                <a:gd name="T34" fmla="*/ 583385309 w 10000"/>
                <a:gd name="T35" fmla="*/ 12847630 h 5291"/>
                <a:gd name="T36" fmla="*/ 548223198 w 10000"/>
                <a:gd name="T37" fmla="*/ 13236553 h 5291"/>
                <a:gd name="T38" fmla="*/ 513496610 w 10000"/>
                <a:gd name="T39" fmla="*/ 13528225 h 5291"/>
                <a:gd name="T40" fmla="*/ 478552260 w 10000"/>
                <a:gd name="T41" fmla="*/ 13750479 h 5291"/>
                <a:gd name="T42" fmla="*/ 444043432 w 10000"/>
                <a:gd name="T43" fmla="*/ 13979649 h 5291"/>
                <a:gd name="T44" fmla="*/ 409970126 w 10000"/>
                <a:gd name="T45" fmla="*/ 14090734 h 5291"/>
                <a:gd name="T46" fmla="*/ 376005371 w 10000"/>
                <a:gd name="T47" fmla="*/ 14208820 h 5291"/>
                <a:gd name="T48" fmla="*/ 342367587 w 10000"/>
                <a:gd name="T49" fmla="*/ 14257404 h 5291"/>
                <a:gd name="T50" fmla="*/ 309056114 w 10000"/>
                <a:gd name="T51" fmla="*/ 14208820 h 5291"/>
                <a:gd name="T52" fmla="*/ 276180162 w 10000"/>
                <a:gd name="T53" fmla="*/ 14208820 h 5291"/>
                <a:gd name="T54" fmla="*/ 243630522 w 10000"/>
                <a:gd name="T55" fmla="*/ 14090734 h 5291"/>
                <a:gd name="T56" fmla="*/ 211516734 w 10000"/>
                <a:gd name="T57" fmla="*/ 13917148 h 5291"/>
                <a:gd name="T58" fmla="*/ 179947018 w 10000"/>
                <a:gd name="T59" fmla="*/ 13750479 h 5291"/>
                <a:gd name="T60" fmla="*/ 148921704 w 10000"/>
                <a:gd name="T61" fmla="*/ 13576809 h 5291"/>
                <a:gd name="T62" fmla="*/ 118114151 w 10000"/>
                <a:gd name="T63" fmla="*/ 13299055 h 5291"/>
                <a:gd name="T64" fmla="*/ 87741790 w 10000"/>
                <a:gd name="T65" fmla="*/ 13007383 h 5291"/>
                <a:gd name="T66" fmla="*/ 58022712 w 10000"/>
                <a:gd name="T67" fmla="*/ 12729628 h 5291"/>
                <a:gd name="T68" fmla="*/ 0 w 10000"/>
                <a:gd name="T69" fmla="*/ 11986533 h 5291"/>
                <a:gd name="T70" fmla="*/ 9253187 w 10000"/>
                <a:gd name="T71" fmla="*/ 17583959 h 529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000" h="5291">
                  <a:moveTo>
                    <a:pt x="85" y="2532"/>
                  </a:moveTo>
                  <a:cubicBezTo>
                    <a:pt x="1736" y="3911"/>
                    <a:pt x="7524" y="5298"/>
                    <a:pt x="9958" y="5291"/>
                  </a:cubicBezTo>
                  <a:cubicBezTo>
                    <a:pt x="9989" y="1958"/>
                    <a:pt x="9969" y="3333"/>
                    <a:pt x="10000" y="0"/>
                  </a:cubicBez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3" name="Freeform 5">
              <a:extLst>
                <a:ext uri="{FF2B5EF4-FFF2-40B4-BE49-F238E27FC236}">
                  <a16:creationId xmlns:a16="http://schemas.microsoft.com/office/drawing/2014/main" id="{2ABBF01D-F738-A04F-8C05-1F89B12C9043}"/>
                </a:ext>
              </a:extLst>
            </p:cNvPr>
            <p:cNvSpPr>
              <a:spLocks/>
            </p:cNvSpPr>
            <p:nvPr/>
          </p:nvSpPr>
          <p:spPr bwMode="gray">
            <a:xfrm rot="-5400000">
              <a:off x="3787244" y="2801721"/>
              <a:ext cx="6053670" cy="1254558"/>
            </a:xfrm>
            <a:custGeom>
              <a:avLst/>
              <a:gdLst>
                <a:gd name="T0" fmla="*/ 0 w 10000"/>
                <a:gd name="T1" fmla="*/ 0 h 8000"/>
                <a:gd name="T2" fmla="*/ 0 w 10000"/>
                <a:gd name="T3" fmla="*/ 196001635 h 8000"/>
                <a:gd name="T4" fmla="*/ 2147483646 w 10000"/>
                <a:gd name="T5" fmla="*/ 196739472 h 8000"/>
                <a:gd name="T6" fmla="*/ 2147483646 w 10000"/>
                <a:gd name="T7" fmla="*/ 172188 h 8000"/>
                <a:gd name="T8" fmla="*/ 2147483646 w 10000"/>
                <a:gd name="T9" fmla="*/ 172188 h 8000"/>
                <a:gd name="T10" fmla="*/ 2147483646 w 10000"/>
                <a:gd name="T11" fmla="*/ 3836438 h 8000"/>
                <a:gd name="T12" fmla="*/ 2147483646 w 10000"/>
                <a:gd name="T13" fmla="*/ 7328501 h 8000"/>
                <a:gd name="T14" fmla="*/ 2147483646 w 10000"/>
                <a:gd name="T15" fmla="*/ 10746857 h 8000"/>
                <a:gd name="T16" fmla="*/ 2147483646 w 10000"/>
                <a:gd name="T17" fmla="*/ 13673428 h 8000"/>
                <a:gd name="T18" fmla="*/ 2147483646 w 10000"/>
                <a:gd name="T19" fmla="*/ 16624462 h 8000"/>
                <a:gd name="T20" fmla="*/ 2147483646 w 10000"/>
                <a:gd name="T21" fmla="*/ 19378844 h 8000"/>
                <a:gd name="T22" fmla="*/ 2147483646 w 10000"/>
                <a:gd name="T23" fmla="*/ 21739765 h 8000"/>
                <a:gd name="T24" fmla="*/ 2147483646 w 10000"/>
                <a:gd name="T25" fmla="*/ 23977583 h 8000"/>
                <a:gd name="T26" fmla="*/ 2147483646 w 10000"/>
                <a:gd name="T27" fmla="*/ 26018749 h 8000"/>
                <a:gd name="T28" fmla="*/ 2147483646 w 10000"/>
                <a:gd name="T29" fmla="*/ 27789401 h 8000"/>
                <a:gd name="T30" fmla="*/ 2147483646 w 10000"/>
                <a:gd name="T31" fmla="*/ 29560052 h 8000"/>
                <a:gd name="T32" fmla="*/ 2147483646 w 10000"/>
                <a:gd name="T33" fmla="*/ 31035726 h 8000"/>
                <a:gd name="T34" fmla="*/ 2147483646 w 10000"/>
                <a:gd name="T35" fmla="*/ 32191488 h 8000"/>
                <a:gd name="T36" fmla="*/ 2147483646 w 10000"/>
                <a:gd name="T37" fmla="*/ 33396491 h 8000"/>
                <a:gd name="T38" fmla="*/ 2147483646 w 10000"/>
                <a:gd name="T39" fmla="*/ 34404842 h 8000"/>
                <a:gd name="T40" fmla="*/ 2147483646 w 10000"/>
                <a:gd name="T41" fmla="*/ 35118058 h 8000"/>
                <a:gd name="T42" fmla="*/ 2147483646 w 10000"/>
                <a:gd name="T43" fmla="*/ 35732791 h 8000"/>
                <a:gd name="T44" fmla="*/ 2147483646 w 10000"/>
                <a:gd name="T45" fmla="*/ 36323061 h 8000"/>
                <a:gd name="T46" fmla="*/ 2109030222 w 10000"/>
                <a:gd name="T47" fmla="*/ 36593575 h 8000"/>
                <a:gd name="T48" fmla="*/ 2030972384 w 10000"/>
                <a:gd name="T49" fmla="*/ 36888710 h 8000"/>
                <a:gd name="T50" fmla="*/ 1954013894 w 10000"/>
                <a:gd name="T51" fmla="*/ 37036277 h 8000"/>
                <a:gd name="T52" fmla="*/ 1877788503 w 10000"/>
                <a:gd name="T53" fmla="*/ 36888710 h 8000"/>
                <a:gd name="T54" fmla="*/ 1802295606 w 10000"/>
                <a:gd name="T55" fmla="*/ 36888710 h 8000"/>
                <a:gd name="T56" fmla="*/ 1727535808 w 10000"/>
                <a:gd name="T57" fmla="*/ 36593575 h 8000"/>
                <a:gd name="T58" fmla="*/ 1654242209 w 10000"/>
                <a:gd name="T59" fmla="*/ 36150873 h 8000"/>
                <a:gd name="T60" fmla="*/ 1581681104 w 10000"/>
                <a:gd name="T61" fmla="*/ 35732791 h 8000"/>
                <a:gd name="T62" fmla="*/ 1510586199 w 10000"/>
                <a:gd name="T63" fmla="*/ 35265625 h 8000"/>
                <a:gd name="T64" fmla="*/ 1439857540 w 10000"/>
                <a:gd name="T65" fmla="*/ 34552409 h 8000"/>
                <a:gd name="T66" fmla="*/ 1370228227 w 10000"/>
                <a:gd name="T67" fmla="*/ 33789952 h 8000"/>
                <a:gd name="T68" fmla="*/ 1302065114 w 10000"/>
                <a:gd name="T69" fmla="*/ 33101356 h 8000"/>
                <a:gd name="T70" fmla="*/ 1169036926 w 10000"/>
                <a:gd name="T71" fmla="*/ 31158673 h 8000"/>
                <a:gd name="T72" fmla="*/ 1041505471 w 10000"/>
                <a:gd name="T73" fmla="*/ 29092886 h 8000"/>
                <a:gd name="T74" fmla="*/ 919104501 w 10000"/>
                <a:gd name="T75" fmla="*/ 26928774 h 8000"/>
                <a:gd name="T76" fmla="*/ 803300216 w 10000"/>
                <a:gd name="T77" fmla="*/ 24543232 h 8000"/>
                <a:gd name="T78" fmla="*/ 692627021 w 10000"/>
                <a:gd name="T79" fmla="*/ 22059364 h 8000"/>
                <a:gd name="T80" fmla="*/ 590015498 w 10000"/>
                <a:gd name="T81" fmla="*/ 19378844 h 8000"/>
                <a:gd name="T82" fmla="*/ 493633807 w 10000"/>
                <a:gd name="T83" fmla="*/ 16747408 h 8000"/>
                <a:gd name="T84" fmla="*/ 404948753 w 10000"/>
                <a:gd name="T85" fmla="*/ 14116130 h 8000"/>
                <a:gd name="T86" fmla="*/ 323592271 w 10000"/>
                <a:gd name="T87" fmla="*/ 11632262 h 8000"/>
                <a:gd name="T88" fmla="*/ 251398018 w 10000"/>
                <a:gd name="T89" fmla="*/ 9271340 h 8000"/>
                <a:gd name="T90" fmla="*/ 186166092 w 10000"/>
                <a:gd name="T91" fmla="*/ 7033366 h 8000"/>
                <a:gd name="T92" fmla="*/ 131195742 w 10000"/>
                <a:gd name="T93" fmla="*/ 5164388 h 8000"/>
                <a:gd name="T94" fmla="*/ 85020768 w 10000"/>
                <a:gd name="T95" fmla="*/ 3393736 h 8000"/>
                <a:gd name="T96" fmla="*/ 21621893 w 10000"/>
                <a:gd name="T97" fmla="*/ 860784 h 8000"/>
                <a:gd name="T98" fmla="*/ 0 w 10000"/>
                <a:gd name="T99" fmla="*/ 0 h 8000"/>
                <a:gd name="T100" fmla="*/ 0 w 10000"/>
                <a:gd name="T101" fmla="*/ 0 h 80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000" h="8000">
                  <a:moveTo>
                    <a:pt x="0" y="0"/>
                  </a:moveTo>
                  <a:lnTo>
                    <a:pt x="0" y="7970"/>
                  </a:lnTo>
                  <a:lnTo>
                    <a:pt x="10000" y="8000"/>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4" name="Freeform 5">
              <a:extLst>
                <a:ext uri="{FF2B5EF4-FFF2-40B4-BE49-F238E27FC236}">
                  <a16:creationId xmlns:a16="http://schemas.microsoft.com/office/drawing/2014/main" id="{38A04935-1C01-AA48-BC85-E25BA002B8DB}"/>
                </a:ext>
              </a:extLst>
            </p:cNvPr>
            <p:cNvSpPr>
              <a:spLocks noEditPoints="1"/>
            </p:cNvSpPr>
            <p:nvPr/>
          </p:nvSpPr>
          <p:spPr bwMode="gray">
            <a:xfrm>
              <a:off x="0" y="1587"/>
              <a:ext cx="12192000" cy="6856413"/>
            </a:xfrm>
            <a:custGeom>
              <a:avLst/>
              <a:gdLst>
                <a:gd name="T0" fmla="*/ 0 w 15356"/>
                <a:gd name="T1" fmla="*/ 0 h 8638"/>
                <a:gd name="T2" fmla="*/ 0 w 15356"/>
                <a:gd name="T3" fmla="*/ 2147483646 h 8638"/>
                <a:gd name="T4" fmla="*/ 2147483646 w 15356"/>
                <a:gd name="T5" fmla="*/ 2147483646 h 8638"/>
                <a:gd name="T6" fmla="*/ 2147483646 w 15356"/>
                <a:gd name="T7" fmla="*/ 0 h 8638"/>
                <a:gd name="T8" fmla="*/ 0 w 15356"/>
                <a:gd name="T9" fmla="*/ 0 h 8638"/>
                <a:gd name="T10" fmla="*/ 2147483646 w 15356"/>
                <a:gd name="T11" fmla="*/ 2147483646 h 8638"/>
                <a:gd name="T12" fmla="*/ 378220357 w 15356"/>
                <a:gd name="T13" fmla="*/ 2147483646 h 8638"/>
                <a:gd name="T14" fmla="*/ 378220357 w 15356"/>
                <a:gd name="T15" fmla="*/ 372983152 h 8638"/>
                <a:gd name="T16" fmla="*/ 2147483646 w 15356"/>
                <a:gd name="T17" fmla="*/ 372983152 h 8638"/>
                <a:gd name="T18" fmla="*/ 2147483646 w 15356"/>
                <a:gd name="T19" fmla="*/ 2147483646 h 86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5" name="Rectangle 14">
            <a:extLst>
              <a:ext uri="{FF2B5EF4-FFF2-40B4-BE49-F238E27FC236}">
                <a16:creationId xmlns:a16="http://schemas.microsoft.com/office/drawing/2014/main" id="{86E1CCCC-0B64-F44F-A48B-C09DE729AB0D}"/>
              </a:ext>
            </a:extLst>
          </p:cNvPr>
          <p:cNvSpPr/>
          <p:nvPr/>
        </p:nvSpPr>
        <p:spPr>
          <a:xfrm>
            <a:off x="10437813"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pic>
        <p:nvPicPr>
          <p:cNvPr id="16" name="Picture 35">
            <a:extLst>
              <a:ext uri="{FF2B5EF4-FFF2-40B4-BE49-F238E27FC236}">
                <a16:creationId xmlns:a16="http://schemas.microsoft.com/office/drawing/2014/main" id="{1798F5BC-A2F9-B643-89BE-0F410FEC0F6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23926" y="5588000"/>
            <a:ext cx="48133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154958" y="2677645"/>
            <a:ext cx="4351023" cy="2283824"/>
          </a:xfrm>
        </p:spPr>
        <p:txBody>
          <a:bodyPr/>
          <a:lstStyle>
            <a:lvl1pPr algn="l">
              <a:defRPr sz="3000" b="0" cap="none"/>
            </a:lvl1pPr>
          </a:lstStyle>
          <a:p>
            <a:r>
              <a:rPr lang="en-US"/>
              <a:t>Click to edit Master title style</a:t>
            </a:r>
            <a:endParaRPr lang="en-US" dirty="0"/>
          </a:p>
        </p:txBody>
      </p:sp>
      <p:sp>
        <p:nvSpPr>
          <p:cNvPr id="3" name="Text Placeholder 2"/>
          <p:cNvSpPr>
            <a:spLocks noGrp="1"/>
          </p:cNvSpPr>
          <p:nvPr>
            <p:ph type="body" idx="1"/>
          </p:nvPr>
        </p:nvSpPr>
        <p:spPr>
          <a:xfrm>
            <a:off x="6895559" y="2677646"/>
            <a:ext cx="3755379" cy="2283823"/>
          </a:xfrm>
        </p:spPr>
        <p:txBody>
          <a:bodyPr anchor="ctr"/>
          <a:lstStyle>
            <a:lvl1pPr marL="0" indent="0" algn="l">
              <a:buNone/>
              <a:defRPr sz="1500" cap="all">
                <a:solidFill>
                  <a:schemeClr val="accent1"/>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17" name="Footer Placeholder 4">
            <a:extLst>
              <a:ext uri="{FF2B5EF4-FFF2-40B4-BE49-F238E27FC236}">
                <a16:creationId xmlns:a16="http://schemas.microsoft.com/office/drawing/2014/main" id="{4CE22ACE-110E-E343-9156-E679D913C97A}"/>
              </a:ext>
            </a:extLst>
          </p:cNvPr>
          <p:cNvSpPr>
            <a:spLocks noGrp="1"/>
          </p:cNvSpPr>
          <p:nvPr>
            <p:ph type="ftr" sz="quarter" idx="10"/>
          </p:nvPr>
        </p:nvSpPr>
        <p:spPr/>
        <p:txBody>
          <a:bodyPr/>
          <a:lstStyle>
            <a:lvl1pPr>
              <a:defRPr/>
            </a:lvl1pPr>
          </a:lstStyle>
          <a:p>
            <a:pPr>
              <a:defRPr/>
            </a:pPr>
            <a:endParaRPr lang="en-US"/>
          </a:p>
        </p:txBody>
      </p:sp>
    </p:spTree>
    <p:extLst>
      <p:ext uri="{BB962C8B-B14F-4D97-AF65-F5344CB8AC3E}">
        <p14:creationId xmlns:p14="http://schemas.microsoft.com/office/powerpoint/2010/main" val="294412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17">
            <a:extLst>
              <a:ext uri="{FF2B5EF4-FFF2-40B4-BE49-F238E27FC236}">
                <a16:creationId xmlns:a16="http://schemas.microsoft.com/office/drawing/2014/main" id="{C43A9063-822D-DB4C-9014-FD3CC4F6287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364789" y="6003925"/>
            <a:ext cx="163353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54954" y="2523990"/>
            <a:ext cx="4825159" cy="3416301"/>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08714" y="2523988"/>
            <a:ext cx="4825159" cy="341630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a:extLst>
              <a:ext uri="{FF2B5EF4-FFF2-40B4-BE49-F238E27FC236}">
                <a16:creationId xmlns:a16="http://schemas.microsoft.com/office/drawing/2014/main" id="{386710F3-BBED-EB43-B855-1625BDBBE204}"/>
              </a:ext>
            </a:extLst>
          </p:cNvPr>
          <p:cNvSpPr>
            <a:spLocks noGrp="1"/>
          </p:cNvSpPr>
          <p:nvPr>
            <p:ph type="ftr" sz="quarter" idx="10"/>
          </p:nvPr>
        </p:nvSpPr>
        <p:spPr/>
        <p:txBody>
          <a:bodyPr/>
          <a:lstStyle>
            <a:lvl1pPr>
              <a:defRPr/>
            </a:lvl1pPr>
          </a:lstStyle>
          <a:p>
            <a:pPr>
              <a:defRPr/>
            </a:pPr>
            <a:endParaRPr lang="en-US"/>
          </a:p>
        </p:txBody>
      </p:sp>
    </p:spTree>
    <p:extLst>
      <p:ext uri="{BB962C8B-B14F-4D97-AF65-F5344CB8AC3E}">
        <p14:creationId xmlns:p14="http://schemas.microsoft.com/office/powerpoint/2010/main" val="2209081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17">
            <a:extLst>
              <a:ext uri="{FF2B5EF4-FFF2-40B4-BE49-F238E27FC236}">
                <a16:creationId xmlns:a16="http://schemas.microsoft.com/office/drawing/2014/main" id="{D5FD668E-25C6-214A-84BE-24D5DCAED4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364789" y="6003925"/>
            <a:ext cx="163353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154955" y="2523744"/>
            <a:ext cx="4825157" cy="576262"/>
          </a:xfrm>
        </p:spPr>
        <p:txBody>
          <a:bodyPr anchor="b">
            <a:noAutofit/>
          </a:bodyPr>
          <a:lstStyle>
            <a:lvl1pPr marL="0" indent="0">
              <a:buNone/>
              <a:defRPr sz="1800" b="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1154954" y="3096637"/>
            <a:ext cx="4825159" cy="2840039"/>
          </a:xfrm>
        </p:spPr>
        <p:txBody>
          <a:bodyPr>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208714" y="2523744"/>
            <a:ext cx="4825159" cy="576262"/>
          </a:xfrm>
        </p:spPr>
        <p:txBody>
          <a:bodyPr anchor="b">
            <a:noAutofit/>
          </a:bodyPr>
          <a:lstStyle>
            <a:lvl1pPr marL="0" indent="0">
              <a:buNone/>
              <a:defRPr sz="1800" b="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208711" y="3096637"/>
            <a:ext cx="4825159" cy="2840039"/>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936E6E29-D886-5E4A-A719-E190C48EE2D0}"/>
              </a:ext>
            </a:extLst>
          </p:cNvPr>
          <p:cNvSpPr>
            <a:spLocks noGrp="1"/>
          </p:cNvSpPr>
          <p:nvPr>
            <p:ph type="ftr" sz="quarter" idx="10"/>
          </p:nvPr>
        </p:nvSpPr>
        <p:spPr/>
        <p:txBody>
          <a:bodyPr/>
          <a:lstStyle>
            <a:lvl1pPr>
              <a:defRPr/>
            </a:lvl1pPr>
          </a:lstStyle>
          <a:p>
            <a:pPr>
              <a:defRPr/>
            </a:pPr>
            <a:endParaRPr lang="en-US"/>
          </a:p>
        </p:txBody>
      </p:sp>
    </p:spTree>
    <p:extLst>
      <p:ext uri="{BB962C8B-B14F-4D97-AF65-F5344CB8AC3E}">
        <p14:creationId xmlns:p14="http://schemas.microsoft.com/office/powerpoint/2010/main" val="19392954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5EB5756-87DA-4E20-A88D-B591C9CC1F36}" type="datetimeFigureOut">
              <a:rPr lang="en-US" smtClean="0">
                <a:solidFill>
                  <a:prstClr val="black">
                    <a:tint val="75000"/>
                  </a:prstClr>
                </a:solidFill>
              </a:rPr>
              <a:pPr/>
              <a:t>11/8/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D2E1A982-B1F1-4649-A26A-8AB1DEE5E80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778276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17">
            <a:extLst>
              <a:ext uri="{FF2B5EF4-FFF2-40B4-BE49-F238E27FC236}">
                <a16:creationId xmlns:a16="http://schemas.microsoft.com/office/drawing/2014/main" id="{E402ABDE-41A7-054F-A0E9-9A0E2E0995E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47277" y="5864227"/>
            <a:ext cx="2009775"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19E16DB4-B080-BC49-8365-C355DA722BEC}"/>
              </a:ext>
            </a:extLst>
          </p:cNvPr>
          <p:cNvSpPr>
            <a:spLocks noGrp="1"/>
          </p:cNvSpPr>
          <p:nvPr>
            <p:ph type="ftr" sz="quarter" idx="10"/>
          </p:nvPr>
        </p:nvSpPr>
        <p:spPr/>
        <p:txBody>
          <a:bodyPr/>
          <a:lstStyle>
            <a:lvl1pPr>
              <a:defRPr/>
            </a:lvl1pPr>
          </a:lstStyle>
          <a:p>
            <a:pPr>
              <a:defRPr/>
            </a:pPr>
            <a:endParaRPr lang="en-US"/>
          </a:p>
        </p:txBody>
      </p:sp>
    </p:spTree>
    <p:extLst>
      <p:ext uri="{BB962C8B-B14F-4D97-AF65-F5344CB8AC3E}">
        <p14:creationId xmlns:p14="http://schemas.microsoft.com/office/powerpoint/2010/main" val="24261303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149F64-02BC-8843-BD84-6060DEEAB5F2}"/>
              </a:ext>
            </a:extLst>
          </p:cNvPr>
          <p:cNvSpPr/>
          <p:nvPr/>
        </p:nvSpPr>
        <p:spPr>
          <a:xfrm>
            <a:off x="10437813"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pic>
        <p:nvPicPr>
          <p:cNvPr id="3" name="Picture 23">
            <a:extLst>
              <a:ext uri="{FF2B5EF4-FFF2-40B4-BE49-F238E27FC236}">
                <a16:creationId xmlns:a16="http://schemas.microsoft.com/office/drawing/2014/main" id="{9C7824F1-26F6-9947-8232-E2FA86AA41C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47277" y="5864227"/>
            <a:ext cx="2009775"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ooter Placeholder 2">
            <a:extLst>
              <a:ext uri="{FF2B5EF4-FFF2-40B4-BE49-F238E27FC236}">
                <a16:creationId xmlns:a16="http://schemas.microsoft.com/office/drawing/2014/main" id="{AA8927BA-A501-5A4D-BB94-84B46E888279}"/>
              </a:ext>
            </a:extLst>
          </p:cNvPr>
          <p:cNvSpPr>
            <a:spLocks noGrp="1"/>
          </p:cNvSpPr>
          <p:nvPr>
            <p:ph type="ftr" sz="quarter" idx="10"/>
          </p:nvPr>
        </p:nvSpPr>
        <p:spPr/>
        <p:txBody>
          <a:bodyPr/>
          <a:lstStyle>
            <a:lvl1pPr>
              <a:defRPr/>
            </a:lvl1pPr>
          </a:lstStyle>
          <a:p>
            <a:pPr>
              <a:defRPr/>
            </a:pPr>
            <a:endParaRPr lang="en-US"/>
          </a:p>
        </p:txBody>
      </p:sp>
    </p:spTree>
    <p:extLst>
      <p:ext uri="{BB962C8B-B14F-4D97-AF65-F5344CB8AC3E}">
        <p14:creationId xmlns:p14="http://schemas.microsoft.com/office/powerpoint/2010/main" val="25842871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5" name="Group 17">
            <a:extLst>
              <a:ext uri="{FF2B5EF4-FFF2-40B4-BE49-F238E27FC236}">
                <a16:creationId xmlns:a16="http://schemas.microsoft.com/office/drawing/2014/main" id="{6F237EAC-4192-3D4B-807A-8E026AB308FD}"/>
              </a:ext>
            </a:extLst>
          </p:cNvPr>
          <p:cNvGrpSpPr>
            <a:grpSpLocks/>
          </p:cNvGrpSpPr>
          <p:nvPr/>
        </p:nvGrpSpPr>
        <p:grpSpPr bwMode="auto">
          <a:xfrm>
            <a:off x="0" y="-1588"/>
            <a:ext cx="12192000" cy="6865938"/>
            <a:chOff x="0" y="-2373"/>
            <a:chExt cx="12192000" cy="6867027"/>
          </a:xfrm>
        </p:grpSpPr>
        <p:sp>
          <p:nvSpPr>
            <p:cNvPr id="6" name="Rectangle 5">
              <a:extLst>
                <a:ext uri="{FF2B5EF4-FFF2-40B4-BE49-F238E27FC236}">
                  <a16:creationId xmlns:a16="http://schemas.microsoft.com/office/drawing/2014/main" id="{E393C5DB-2B61-2143-9D53-B86C33431921}"/>
                </a:ext>
              </a:extLst>
            </p:cNvPr>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7" name="Oval 6">
              <a:extLst>
                <a:ext uri="{FF2B5EF4-FFF2-40B4-BE49-F238E27FC236}">
                  <a16:creationId xmlns:a16="http://schemas.microsoft.com/office/drawing/2014/main" id="{0410C887-AFF9-CC45-B551-6D2E06327E95}"/>
                </a:ext>
              </a:extLst>
            </p:cNvPr>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Oval 7">
              <a:extLst>
                <a:ext uri="{FF2B5EF4-FFF2-40B4-BE49-F238E27FC236}">
                  <a16:creationId xmlns:a16="http://schemas.microsoft.com/office/drawing/2014/main" id="{96CC447D-5453-FC4A-A0BB-32258B4970EB}"/>
                </a:ext>
              </a:extLst>
            </p:cNvPr>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9" name="Oval 8">
              <a:extLst>
                <a:ext uri="{FF2B5EF4-FFF2-40B4-BE49-F238E27FC236}">
                  <a16:creationId xmlns:a16="http://schemas.microsoft.com/office/drawing/2014/main" id="{DC754F14-13DB-EF49-98F5-C3E0A929FEA9}"/>
                </a:ext>
              </a:extLst>
            </p:cNvPr>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0" name="Oval 9">
              <a:extLst>
                <a:ext uri="{FF2B5EF4-FFF2-40B4-BE49-F238E27FC236}">
                  <a16:creationId xmlns:a16="http://schemas.microsoft.com/office/drawing/2014/main" id="{BD1620AF-42BA-C44F-A3E7-172587197A1D}"/>
                </a:ext>
              </a:extLst>
            </p:cNvPr>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1" name="Oval 10">
              <a:extLst>
                <a:ext uri="{FF2B5EF4-FFF2-40B4-BE49-F238E27FC236}">
                  <a16:creationId xmlns:a16="http://schemas.microsoft.com/office/drawing/2014/main" id="{A3B43399-2DD9-2343-ABE1-9D7E816B0E7A}"/>
                </a:ext>
              </a:extLst>
            </p:cNvPr>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2" name="Rectangle 11">
              <a:extLst>
                <a:ext uri="{FF2B5EF4-FFF2-40B4-BE49-F238E27FC236}">
                  <a16:creationId xmlns:a16="http://schemas.microsoft.com/office/drawing/2014/main" id="{561F280A-46BE-FB4B-81CF-77E4C0AFFC1C}"/>
                </a:ext>
              </a:extLst>
            </p:cNvPr>
            <p:cNvSpPr/>
            <p:nvPr/>
          </p:nvSpPr>
          <p:spPr>
            <a:xfrm>
              <a:off x="5713413" y="402504"/>
              <a:ext cx="6054725" cy="605409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3" name="Freeform 5">
              <a:extLst>
                <a:ext uri="{FF2B5EF4-FFF2-40B4-BE49-F238E27FC236}">
                  <a16:creationId xmlns:a16="http://schemas.microsoft.com/office/drawing/2014/main" id="{DB214DDE-B8DA-504D-97E1-214BB5CFE04D}"/>
                </a:ext>
              </a:extLst>
            </p:cNvPr>
            <p:cNvSpPr>
              <a:spLocks/>
            </p:cNvSpPr>
            <p:nvPr/>
          </p:nvSpPr>
          <p:spPr bwMode="gray">
            <a:xfrm rot="-5677511">
              <a:off x="3140485" y="1826078"/>
              <a:ext cx="3299407" cy="440924"/>
            </a:xfrm>
            <a:custGeom>
              <a:avLst/>
              <a:gdLst>
                <a:gd name="T0" fmla="*/ 9253187 w 10000"/>
                <a:gd name="T1" fmla="*/ 17583959 h 5291"/>
                <a:gd name="T2" fmla="*/ 1084036337 w 10000"/>
                <a:gd name="T3" fmla="*/ 36744278 h 5291"/>
                <a:gd name="T4" fmla="*/ 1088608655 w 10000"/>
                <a:gd name="T5" fmla="*/ 0 h 5291"/>
                <a:gd name="T6" fmla="*/ 1088608655 w 10000"/>
                <a:gd name="T7" fmla="*/ 0 h 5291"/>
                <a:gd name="T8" fmla="*/ 1052358070 w 10000"/>
                <a:gd name="T9" fmla="*/ 1416690 h 5291"/>
                <a:gd name="T10" fmla="*/ 1016107156 w 10000"/>
                <a:gd name="T11" fmla="*/ 2777880 h 5291"/>
                <a:gd name="T12" fmla="*/ 979856571 w 10000"/>
                <a:gd name="T13" fmla="*/ 4097318 h 5291"/>
                <a:gd name="T14" fmla="*/ 943497106 w 10000"/>
                <a:gd name="T15" fmla="*/ 5229337 h 5291"/>
                <a:gd name="T16" fmla="*/ 907137641 w 10000"/>
                <a:gd name="T17" fmla="*/ 6368273 h 5291"/>
                <a:gd name="T18" fmla="*/ 870778176 w 10000"/>
                <a:gd name="T19" fmla="*/ 7437707 h 5291"/>
                <a:gd name="T20" fmla="*/ 834853902 w 10000"/>
                <a:gd name="T21" fmla="*/ 8347472 h 5291"/>
                <a:gd name="T22" fmla="*/ 798276676 w 10000"/>
                <a:gd name="T23" fmla="*/ 9201736 h 5291"/>
                <a:gd name="T24" fmla="*/ 762026092 w 10000"/>
                <a:gd name="T25" fmla="*/ 10000333 h 5291"/>
                <a:gd name="T26" fmla="*/ 726428460 w 10000"/>
                <a:gd name="T27" fmla="*/ 10680928 h 5291"/>
                <a:gd name="T28" fmla="*/ 690177875 w 10000"/>
                <a:gd name="T29" fmla="*/ 11361522 h 5291"/>
                <a:gd name="T30" fmla="*/ 654580243 w 10000"/>
                <a:gd name="T31" fmla="*/ 11937865 h 5291"/>
                <a:gd name="T32" fmla="*/ 618982941 w 10000"/>
                <a:gd name="T33" fmla="*/ 12389289 h 5291"/>
                <a:gd name="T34" fmla="*/ 583385309 w 10000"/>
                <a:gd name="T35" fmla="*/ 12847630 h 5291"/>
                <a:gd name="T36" fmla="*/ 548223198 w 10000"/>
                <a:gd name="T37" fmla="*/ 13236553 h 5291"/>
                <a:gd name="T38" fmla="*/ 513496610 w 10000"/>
                <a:gd name="T39" fmla="*/ 13528225 h 5291"/>
                <a:gd name="T40" fmla="*/ 478552260 w 10000"/>
                <a:gd name="T41" fmla="*/ 13750479 h 5291"/>
                <a:gd name="T42" fmla="*/ 444043432 w 10000"/>
                <a:gd name="T43" fmla="*/ 13979649 h 5291"/>
                <a:gd name="T44" fmla="*/ 409970126 w 10000"/>
                <a:gd name="T45" fmla="*/ 14090734 h 5291"/>
                <a:gd name="T46" fmla="*/ 376005371 w 10000"/>
                <a:gd name="T47" fmla="*/ 14208820 h 5291"/>
                <a:gd name="T48" fmla="*/ 342367587 w 10000"/>
                <a:gd name="T49" fmla="*/ 14257404 h 5291"/>
                <a:gd name="T50" fmla="*/ 309056114 w 10000"/>
                <a:gd name="T51" fmla="*/ 14208820 h 5291"/>
                <a:gd name="T52" fmla="*/ 276180162 w 10000"/>
                <a:gd name="T53" fmla="*/ 14208820 h 5291"/>
                <a:gd name="T54" fmla="*/ 243630522 w 10000"/>
                <a:gd name="T55" fmla="*/ 14090734 h 5291"/>
                <a:gd name="T56" fmla="*/ 211516734 w 10000"/>
                <a:gd name="T57" fmla="*/ 13917148 h 5291"/>
                <a:gd name="T58" fmla="*/ 179947018 w 10000"/>
                <a:gd name="T59" fmla="*/ 13750479 h 5291"/>
                <a:gd name="T60" fmla="*/ 148921704 w 10000"/>
                <a:gd name="T61" fmla="*/ 13576809 h 5291"/>
                <a:gd name="T62" fmla="*/ 118114151 w 10000"/>
                <a:gd name="T63" fmla="*/ 13299055 h 5291"/>
                <a:gd name="T64" fmla="*/ 87741790 w 10000"/>
                <a:gd name="T65" fmla="*/ 13007383 h 5291"/>
                <a:gd name="T66" fmla="*/ 58022712 w 10000"/>
                <a:gd name="T67" fmla="*/ 12729628 h 5291"/>
                <a:gd name="T68" fmla="*/ 0 w 10000"/>
                <a:gd name="T69" fmla="*/ 11986533 h 5291"/>
                <a:gd name="T70" fmla="*/ 9253187 w 10000"/>
                <a:gd name="T71" fmla="*/ 17583959 h 529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000" h="5291">
                  <a:moveTo>
                    <a:pt x="85" y="2532"/>
                  </a:moveTo>
                  <a:cubicBezTo>
                    <a:pt x="1736" y="3911"/>
                    <a:pt x="7524" y="5298"/>
                    <a:pt x="9958" y="5291"/>
                  </a:cubicBezTo>
                  <a:cubicBezTo>
                    <a:pt x="9989" y="1958"/>
                    <a:pt x="9969" y="3333"/>
                    <a:pt x="10000" y="0"/>
                  </a:cubicBez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4" name="Freeform 5">
              <a:extLst>
                <a:ext uri="{FF2B5EF4-FFF2-40B4-BE49-F238E27FC236}">
                  <a16:creationId xmlns:a16="http://schemas.microsoft.com/office/drawing/2014/main" id="{79C1778C-1816-884E-B55D-BE20CE77C6C1}"/>
                </a:ext>
              </a:extLst>
            </p:cNvPr>
            <p:cNvSpPr>
              <a:spLocks/>
            </p:cNvSpPr>
            <p:nvPr/>
          </p:nvSpPr>
          <p:spPr bwMode="gray">
            <a:xfrm rot="-5400000">
              <a:off x="2229377" y="2801721"/>
              <a:ext cx="6053670" cy="1254558"/>
            </a:xfrm>
            <a:custGeom>
              <a:avLst/>
              <a:gdLst>
                <a:gd name="T0" fmla="*/ 0 w 10000"/>
                <a:gd name="T1" fmla="*/ 0 h 8000"/>
                <a:gd name="T2" fmla="*/ 0 w 10000"/>
                <a:gd name="T3" fmla="*/ 196001635 h 8000"/>
                <a:gd name="T4" fmla="*/ 2147483646 w 10000"/>
                <a:gd name="T5" fmla="*/ 196739472 h 8000"/>
                <a:gd name="T6" fmla="*/ 2147483646 w 10000"/>
                <a:gd name="T7" fmla="*/ 172188 h 8000"/>
                <a:gd name="T8" fmla="*/ 2147483646 w 10000"/>
                <a:gd name="T9" fmla="*/ 172188 h 8000"/>
                <a:gd name="T10" fmla="*/ 2147483646 w 10000"/>
                <a:gd name="T11" fmla="*/ 3836438 h 8000"/>
                <a:gd name="T12" fmla="*/ 2147483646 w 10000"/>
                <a:gd name="T13" fmla="*/ 7328501 h 8000"/>
                <a:gd name="T14" fmla="*/ 2147483646 w 10000"/>
                <a:gd name="T15" fmla="*/ 10746857 h 8000"/>
                <a:gd name="T16" fmla="*/ 2147483646 w 10000"/>
                <a:gd name="T17" fmla="*/ 13673428 h 8000"/>
                <a:gd name="T18" fmla="*/ 2147483646 w 10000"/>
                <a:gd name="T19" fmla="*/ 16624462 h 8000"/>
                <a:gd name="T20" fmla="*/ 2147483646 w 10000"/>
                <a:gd name="T21" fmla="*/ 19378844 h 8000"/>
                <a:gd name="T22" fmla="*/ 2147483646 w 10000"/>
                <a:gd name="T23" fmla="*/ 21739765 h 8000"/>
                <a:gd name="T24" fmla="*/ 2147483646 w 10000"/>
                <a:gd name="T25" fmla="*/ 23977583 h 8000"/>
                <a:gd name="T26" fmla="*/ 2147483646 w 10000"/>
                <a:gd name="T27" fmla="*/ 26018749 h 8000"/>
                <a:gd name="T28" fmla="*/ 2147483646 w 10000"/>
                <a:gd name="T29" fmla="*/ 27789401 h 8000"/>
                <a:gd name="T30" fmla="*/ 2147483646 w 10000"/>
                <a:gd name="T31" fmla="*/ 29560052 h 8000"/>
                <a:gd name="T32" fmla="*/ 2147483646 w 10000"/>
                <a:gd name="T33" fmla="*/ 31035726 h 8000"/>
                <a:gd name="T34" fmla="*/ 2147483646 w 10000"/>
                <a:gd name="T35" fmla="*/ 32191488 h 8000"/>
                <a:gd name="T36" fmla="*/ 2147483646 w 10000"/>
                <a:gd name="T37" fmla="*/ 33396491 h 8000"/>
                <a:gd name="T38" fmla="*/ 2147483646 w 10000"/>
                <a:gd name="T39" fmla="*/ 34404842 h 8000"/>
                <a:gd name="T40" fmla="*/ 2147483646 w 10000"/>
                <a:gd name="T41" fmla="*/ 35118058 h 8000"/>
                <a:gd name="T42" fmla="*/ 2147483646 w 10000"/>
                <a:gd name="T43" fmla="*/ 35732791 h 8000"/>
                <a:gd name="T44" fmla="*/ 2147483646 w 10000"/>
                <a:gd name="T45" fmla="*/ 36323061 h 8000"/>
                <a:gd name="T46" fmla="*/ 2109030222 w 10000"/>
                <a:gd name="T47" fmla="*/ 36593575 h 8000"/>
                <a:gd name="T48" fmla="*/ 2030972384 w 10000"/>
                <a:gd name="T49" fmla="*/ 36888710 h 8000"/>
                <a:gd name="T50" fmla="*/ 1954013894 w 10000"/>
                <a:gd name="T51" fmla="*/ 37036277 h 8000"/>
                <a:gd name="T52" fmla="*/ 1877788503 w 10000"/>
                <a:gd name="T53" fmla="*/ 36888710 h 8000"/>
                <a:gd name="T54" fmla="*/ 1802295606 w 10000"/>
                <a:gd name="T55" fmla="*/ 36888710 h 8000"/>
                <a:gd name="T56" fmla="*/ 1727535808 w 10000"/>
                <a:gd name="T57" fmla="*/ 36593575 h 8000"/>
                <a:gd name="T58" fmla="*/ 1654242209 w 10000"/>
                <a:gd name="T59" fmla="*/ 36150873 h 8000"/>
                <a:gd name="T60" fmla="*/ 1581681104 w 10000"/>
                <a:gd name="T61" fmla="*/ 35732791 h 8000"/>
                <a:gd name="T62" fmla="*/ 1510586199 w 10000"/>
                <a:gd name="T63" fmla="*/ 35265625 h 8000"/>
                <a:gd name="T64" fmla="*/ 1439857540 w 10000"/>
                <a:gd name="T65" fmla="*/ 34552409 h 8000"/>
                <a:gd name="T66" fmla="*/ 1370228227 w 10000"/>
                <a:gd name="T67" fmla="*/ 33789952 h 8000"/>
                <a:gd name="T68" fmla="*/ 1302065114 w 10000"/>
                <a:gd name="T69" fmla="*/ 33101356 h 8000"/>
                <a:gd name="T70" fmla="*/ 1169036926 w 10000"/>
                <a:gd name="T71" fmla="*/ 31158673 h 8000"/>
                <a:gd name="T72" fmla="*/ 1041505471 w 10000"/>
                <a:gd name="T73" fmla="*/ 29092886 h 8000"/>
                <a:gd name="T74" fmla="*/ 919104501 w 10000"/>
                <a:gd name="T75" fmla="*/ 26928774 h 8000"/>
                <a:gd name="T76" fmla="*/ 803300216 w 10000"/>
                <a:gd name="T77" fmla="*/ 24543232 h 8000"/>
                <a:gd name="T78" fmla="*/ 692627021 w 10000"/>
                <a:gd name="T79" fmla="*/ 22059364 h 8000"/>
                <a:gd name="T80" fmla="*/ 590015498 w 10000"/>
                <a:gd name="T81" fmla="*/ 19378844 h 8000"/>
                <a:gd name="T82" fmla="*/ 493633807 w 10000"/>
                <a:gd name="T83" fmla="*/ 16747408 h 8000"/>
                <a:gd name="T84" fmla="*/ 404948753 w 10000"/>
                <a:gd name="T85" fmla="*/ 14116130 h 8000"/>
                <a:gd name="T86" fmla="*/ 323592271 w 10000"/>
                <a:gd name="T87" fmla="*/ 11632262 h 8000"/>
                <a:gd name="T88" fmla="*/ 251398018 w 10000"/>
                <a:gd name="T89" fmla="*/ 9271340 h 8000"/>
                <a:gd name="T90" fmla="*/ 186166092 w 10000"/>
                <a:gd name="T91" fmla="*/ 7033366 h 8000"/>
                <a:gd name="T92" fmla="*/ 131195742 w 10000"/>
                <a:gd name="T93" fmla="*/ 5164388 h 8000"/>
                <a:gd name="T94" fmla="*/ 85020768 w 10000"/>
                <a:gd name="T95" fmla="*/ 3393736 h 8000"/>
                <a:gd name="T96" fmla="*/ 21621893 w 10000"/>
                <a:gd name="T97" fmla="*/ 860784 h 8000"/>
                <a:gd name="T98" fmla="*/ 0 w 10000"/>
                <a:gd name="T99" fmla="*/ 0 h 8000"/>
                <a:gd name="T100" fmla="*/ 0 w 10000"/>
                <a:gd name="T101" fmla="*/ 0 h 80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000" h="8000">
                  <a:moveTo>
                    <a:pt x="0" y="0"/>
                  </a:moveTo>
                  <a:lnTo>
                    <a:pt x="0" y="7970"/>
                  </a:lnTo>
                  <a:lnTo>
                    <a:pt x="10000" y="8000"/>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5" name="Freeform 5">
              <a:extLst>
                <a:ext uri="{FF2B5EF4-FFF2-40B4-BE49-F238E27FC236}">
                  <a16:creationId xmlns:a16="http://schemas.microsoft.com/office/drawing/2014/main" id="{E44B752C-2EFA-B845-A0D9-C9BAD3A8733D}"/>
                </a:ext>
              </a:extLst>
            </p:cNvPr>
            <p:cNvSpPr>
              <a:spLocks noEditPoints="1"/>
            </p:cNvSpPr>
            <p:nvPr/>
          </p:nvSpPr>
          <p:spPr bwMode="gray">
            <a:xfrm>
              <a:off x="0" y="1587"/>
              <a:ext cx="12192000" cy="6856413"/>
            </a:xfrm>
            <a:custGeom>
              <a:avLst/>
              <a:gdLst>
                <a:gd name="T0" fmla="*/ 0 w 15356"/>
                <a:gd name="T1" fmla="*/ 0 h 8638"/>
                <a:gd name="T2" fmla="*/ 0 w 15356"/>
                <a:gd name="T3" fmla="*/ 2147483646 h 8638"/>
                <a:gd name="T4" fmla="*/ 2147483646 w 15356"/>
                <a:gd name="T5" fmla="*/ 2147483646 h 8638"/>
                <a:gd name="T6" fmla="*/ 2147483646 w 15356"/>
                <a:gd name="T7" fmla="*/ 0 h 8638"/>
                <a:gd name="T8" fmla="*/ 0 w 15356"/>
                <a:gd name="T9" fmla="*/ 0 h 8638"/>
                <a:gd name="T10" fmla="*/ 2147483646 w 15356"/>
                <a:gd name="T11" fmla="*/ 2147483646 h 8638"/>
                <a:gd name="T12" fmla="*/ 378220357 w 15356"/>
                <a:gd name="T13" fmla="*/ 2147483646 h 8638"/>
                <a:gd name="T14" fmla="*/ 378220357 w 15356"/>
                <a:gd name="T15" fmla="*/ 372983152 h 8638"/>
                <a:gd name="T16" fmla="*/ 2147483646 w 15356"/>
                <a:gd name="T17" fmla="*/ 372983152 h 8638"/>
                <a:gd name="T18" fmla="*/ 2147483646 w 15356"/>
                <a:gd name="T19" fmla="*/ 2147483646 h 86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6" name="Rectangle 15">
            <a:extLst>
              <a:ext uri="{FF2B5EF4-FFF2-40B4-BE49-F238E27FC236}">
                <a16:creationId xmlns:a16="http://schemas.microsoft.com/office/drawing/2014/main" id="{91A3C931-EDC1-9E4F-872D-6BF9A61AE5A3}"/>
              </a:ext>
            </a:extLst>
          </p:cNvPr>
          <p:cNvSpPr/>
          <p:nvPr/>
        </p:nvSpPr>
        <p:spPr>
          <a:xfrm>
            <a:off x="10437813"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pic>
        <p:nvPicPr>
          <p:cNvPr id="17" name="Picture 35">
            <a:extLst>
              <a:ext uri="{FF2B5EF4-FFF2-40B4-BE49-F238E27FC236}">
                <a16:creationId xmlns:a16="http://schemas.microsoft.com/office/drawing/2014/main" id="{CA3BE959-96B3-B848-ADFE-960B7006428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1551" y="5829302"/>
            <a:ext cx="3238500"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154955" y="1295400"/>
            <a:ext cx="2793159" cy="1600200"/>
          </a:xfrm>
        </p:spPr>
        <p:txBody>
          <a:bodyPr anchor="b"/>
          <a:lstStyle>
            <a:lvl1pPr algn="l">
              <a:defRPr sz="1800" b="0"/>
            </a:lvl1pPr>
          </a:lstStyle>
          <a:p>
            <a:r>
              <a:rPr lang="en-US"/>
              <a:t>Click to edit Master title style</a:t>
            </a:r>
            <a:endParaRPr lang="en-US" dirty="0"/>
          </a:p>
        </p:txBody>
      </p:sp>
      <p:sp>
        <p:nvSpPr>
          <p:cNvPr id="3" name="Content Placeholder 2"/>
          <p:cNvSpPr>
            <a:spLocks noGrp="1"/>
          </p:cNvSpPr>
          <p:nvPr>
            <p:ph idx="1"/>
          </p:nvPr>
        </p:nvSpPr>
        <p:spPr>
          <a:xfrm>
            <a:off x="5781148" y="1447800"/>
            <a:ext cx="5190065" cy="4572000"/>
          </a:xfrm>
        </p:spPr>
        <p:txBody>
          <a:bodyPr anchor="ctr">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bwMode="gray">
          <a:xfrm>
            <a:off x="1154955" y="2895602"/>
            <a:ext cx="2793159" cy="2665413"/>
          </a:xfrm>
        </p:spPr>
        <p:txBody>
          <a:bodyPr/>
          <a:lstStyle>
            <a:lvl1pPr marL="0" indent="0">
              <a:buNone/>
              <a:defRPr sz="1050">
                <a:solidFill>
                  <a:schemeClr val="accent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18" name="Footer Placeholder 5">
            <a:extLst>
              <a:ext uri="{FF2B5EF4-FFF2-40B4-BE49-F238E27FC236}">
                <a16:creationId xmlns:a16="http://schemas.microsoft.com/office/drawing/2014/main" id="{617BA188-C51E-6040-BFC6-628E804F38C9}"/>
              </a:ext>
            </a:extLst>
          </p:cNvPr>
          <p:cNvSpPr>
            <a:spLocks noGrp="1"/>
          </p:cNvSpPr>
          <p:nvPr>
            <p:ph type="ftr" sz="quarter" idx="10"/>
          </p:nvPr>
        </p:nvSpPr>
        <p:spPr/>
        <p:txBody>
          <a:bodyPr/>
          <a:lstStyle>
            <a:lvl1pPr>
              <a:defRPr/>
            </a:lvl1pPr>
          </a:lstStyle>
          <a:p>
            <a:pPr>
              <a:defRPr/>
            </a:pPr>
            <a:endParaRPr lang="en-US"/>
          </a:p>
        </p:txBody>
      </p:sp>
    </p:spTree>
    <p:extLst>
      <p:ext uri="{BB962C8B-B14F-4D97-AF65-F5344CB8AC3E}">
        <p14:creationId xmlns:p14="http://schemas.microsoft.com/office/powerpoint/2010/main" val="18987495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5" name="Group 17">
            <a:extLst>
              <a:ext uri="{FF2B5EF4-FFF2-40B4-BE49-F238E27FC236}">
                <a16:creationId xmlns:a16="http://schemas.microsoft.com/office/drawing/2014/main" id="{BF1155A3-C605-9D4C-82B5-97282D65ED11}"/>
              </a:ext>
            </a:extLst>
          </p:cNvPr>
          <p:cNvGrpSpPr>
            <a:grpSpLocks/>
          </p:cNvGrpSpPr>
          <p:nvPr/>
        </p:nvGrpSpPr>
        <p:grpSpPr bwMode="auto">
          <a:xfrm>
            <a:off x="0" y="-1588"/>
            <a:ext cx="12192000" cy="6865938"/>
            <a:chOff x="0" y="-2373"/>
            <a:chExt cx="12192000" cy="6867027"/>
          </a:xfrm>
        </p:grpSpPr>
        <p:sp>
          <p:nvSpPr>
            <p:cNvPr id="6" name="Rectangle 5">
              <a:extLst>
                <a:ext uri="{FF2B5EF4-FFF2-40B4-BE49-F238E27FC236}">
                  <a16:creationId xmlns:a16="http://schemas.microsoft.com/office/drawing/2014/main" id="{48752C9E-E074-894E-A187-AA358AFDC57D}"/>
                </a:ext>
              </a:extLst>
            </p:cNvPr>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7" name="Oval 6">
              <a:extLst>
                <a:ext uri="{FF2B5EF4-FFF2-40B4-BE49-F238E27FC236}">
                  <a16:creationId xmlns:a16="http://schemas.microsoft.com/office/drawing/2014/main" id="{18AD265C-2EC2-2642-B28E-FD5451BB755B}"/>
                </a:ext>
              </a:extLst>
            </p:cNvPr>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Oval 7">
              <a:extLst>
                <a:ext uri="{FF2B5EF4-FFF2-40B4-BE49-F238E27FC236}">
                  <a16:creationId xmlns:a16="http://schemas.microsoft.com/office/drawing/2014/main" id="{34CF5BE8-92B1-FD48-ADFD-5B7749868810}"/>
                </a:ext>
              </a:extLst>
            </p:cNvPr>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9" name="Oval 8">
              <a:extLst>
                <a:ext uri="{FF2B5EF4-FFF2-40B4-BE49-F238E27FC236}">
                  <a16:creationId xmlns:a16="http://schemas.microsoft.com/office/drawing/2014/main" id="{05C27A07-3DF5-4B47-B7A5-BE7622621E46}"/>
                </a:ext>
              </a:extLst>
            </p:cNvPr>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0" name="Oval 9">
              <a:extLst>
                <a:ext uri="{FF2B5EF4-FFF2-40B4-BE49-F238E27FC236}">
                  <a16:creationId xmlns:a16="http://schemas.microsoft.com/office/drawing/2014/main" id="{0A37928A-C5A8-5A45-B2ED-06E3A02C7CB2}"/>
                </a:ext>
              </a:extLst>
            </p:cNvPr>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1" name="Oval 10">
              <a:extLst>
                <a:ext uri="{FF2B5EF4-FFF2-40B4-BE49-F238E27FC236}">
                  <a16:creationId xmlns:a16="http://schemas.microsoft.com/office/drawing/2014/main" id="{4CB3B6D2-C596-AC40-8A08-A3003DA168D0}"/>
                </a:ext>
              </a:extLst>
            </p:cNvPr>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2" name="Rectangle 11">
              <a:extLst>
                <a:ext uri="{FF2B5EF4-FFF2-40B4-BE49-F238E27FC236}">
                  <a16:creationId xmlns:a16="http://schemas.microsoft.com/office/drawing/2014/main" id="{7EC1B805-D03C-3840-88CC-048411D08843}"/>
                </a:ext>
              </a:extLst>
            </p:cNvPr>
            <p:cNvSpPr/>
            <p:nvPr/>
          </p:nvSpPr>
          <p:spPr>
            <a:xfrm>
              <a:off x="6172200" y="402504"/>
              <a:ext cx="5595938" cy="605409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3" name="Freeform 5">
              <a:extLst>
                <a:ext uri="{FF2B5EF4-FFF2-40B4-BE49-F238E27FC236}">
                  <a16:creationId xmlns:a16="http://schemas.microsoft.com/office/drawing/2014/main" id="{391B5C9E-FDDF-514D-866E-C654324E9727}"/>
                </a:ext>
              </a:extLst>
            </p:cNvPr>
            <p:cNvSpPr>
              <a:spLocks/>
            </p:cNvSpPr>
            <p:nvPr/>
          </p:nvSpPr>
          <p:spPr bwMode="gray">
            <a:xfrm rot="-5400000">
              <a:off x="3295432" y="2801721"/>
              <a:ext cx="6053670" cy="1254558"/>
            </a:xfrm>
            <a:custGeom>
              <a:avLst/>
              <a:gdLst>
                <a:gd name="T0" fmla="*/ 0 w 10000"/>
                <a:gd name="T1" fmla="*/ 0 h 8000"/>
                <a:gd name="T2" fmla="*/ 0 w 10000"/>
                <a:gd name="T3" fmla="*/ 196001635 h 8000"/>
                <a:gd name="T4" fmla="*/ 2147483646 w 10000"/>
                <a:gd name="T5" fmla="*/ 196739472 h 8000"/>
                <a:gd name="T6" fmla="*/ 2147483646 w 10000"/>
                <a:gd name="T7" fmla="*/ 172188 h 8000"/>
                <a:gd name="T8" fmla="*/ 2147483646 w 10000"/>
                <a:gd name="T9" fmla="*/ 172188 h 8000"/>
                <a:gd name="T10" fmla="*/ 2147483646 w 10000"/>
                <a:gd name="T11" fmla="*/ 3836438 h 8000"/>
                <a:gd name="T12" fmla="*/ 2147483646 w 10000"/>
                <a:gd name="T13" fmla="*/ 7328501 h 8000"/>
                <a:gd name="T14" fmla="*/ 2147483646 w 10000"/>
                <a:gd name="T15" fmla="*/ 10746857 h 8000"/>
                <a:gd name="T16" fmla="*/ 2147483646 w 10000"/>
                <a:gd name="T17" fmla="*/ 13673428 h 8000"/>
                <a:gd name="T18" fmla="*/ 2147483646 w 10000"/>
                <a:gd name="T19" fmla="*/ 16624462 h 8000"/>
                <a:gd name="T20" fmla="*/ 2147483646 w 10000"/>
                <a:gd name="T21" fmla="*/ 19378844 h 8000"/>
                <a:gd name="T22" fmla="*/ 2147483646 w 10000"/>
                <a:gd name="T23" fmla="*/ 21739765 h 8000"/>
                <a:gd name="T24" fmla="*/ 2147483646 w 10000"/>
                <a:gd name="T25" fmla="*/ 23977583 h 8000"/>
                <a:gd name="T26" fmla="*/ 2147483646 w 10000"/>
                <a:gd name="T27" fmla="*/ 26018749 h 8000"/>
                <a:gd name="T28" fmla="*/ 2147483646 w 10000"/>
                <a:gd name="T29" fmla="*/ 27789401 h 8000"/>
                <a:gd name="T30" fmla="*/ 2147483646 w 10000"/>
                <a:gd name="T31" fmla="*/ 29560052 h 8000"/>
                <a:gd name="T32" fmla="*/ 2147483646 w 10000"/>
                <a:gd name="T33" fmla="*/ 31035726 h 8000"/>
                <a:gd name="T34" fmla="*/ 2147483646 w 10000"/>
                <a:gd name="T35" fmla="*/ 32191488 h 8000"/>
                <a:gd name="T36" fmla="*/ 2147483646 w 10000"/>
                <a:gd name="T37" fmla="*/ 33396491 h 8000"/>
                <a:gd name="T38" fmla="*/ 2147483646 w 10000"/>
                <a:gd name="T39" fmla="*/ 34404842 h 8000"/>
                <a:gd name="T40" fmla="*/ 2147483646 w 10000"/>
                <a:gd name="T41" fmla="*/ 35118058 h 8000"/>
                <a:gd name="T42" fmla="*/ 2147483646 w 10000"/>
                <a:gd name="T43" fmla="*/ 35732791 h 8000"/>
                <a:gd name="T44" fmla="*/ 2147483646 w 10000"/>
                <a:gd name="T45" fmla="*/ 36323061 h 8000"/>
                <a:gd name="T46" fmla="*/ 2109030222 w 10000"/>
                <a:gd name="T47" fmla="*/ 36593575 h 8000"/>
                <a:gd name="T48" fmla="*/ 2030972384 w 10000"/>
                <a:gd name="T49" fmla="*/ 36888710 h 8000"/>
                <a:gd name="T50" fmla="*/ 1954013894 w 10000"/>
                <a:gd name="T51" fmla="*/ 37036277 h 8000"/>
                <a:gd name="T52" fmla="*/ 1877788503 w 10000"/>
                <a:gd name="T53" fmla="*/ 36888710 h 8000"/>
                <a:gd name="T54" fmla="*/ 1802295606 w 10000"/>
                <a:gd name="T55" fmla="*/ 36888710 h 8000"/>
                <a:gd name="T56" fmla="*/ 1727535808 w 10000"/>
                <a:gd name="T57" fmla="*/ 36593575 h 8000"/>
                <a:gd name="T58" fmla="*/ 1654242209 w 10000"/>
                <a:gd name="T59" fmla="*/ 36150873 h 8000"/>
                <a:gd name="T60" fmla="*/ 1581681104 w 10000"/>
                <a:gd name="T61" fmla="*/ 35732791 h 8000"/>
                <a:gd name="T62" fmla="*/ 1510586199 w 10000"/>
                <a:gd name="T63" fmla="*/ 35265625 h 8000"/>
                <a:gd name="T64" fmla="*/ 1439857540 w 10000"/>
                <a:gd name="T65" fmla="*/ 34552409 h 8000"/>
                <a:gd name="T66" fmla="*/ 1370228227 w 10000"/>
                <a:gd name="T67" fmla="*/ 33789952 h 8000"/>
                <a:gd name="T68" fmla="*/ 1302065114 w 10000"/>
                <a:gd name="T69" fmla="*/ 33101356 h 8000"/>
                <a:gd name="T70" fmla="*/ 1169036926 w 10000"/>
                <a:gd name="T71" fmla="*/ 31158673 h 8000"/>
                <a:gd name="T72" fmla="*/ 1041505471 w 10000"/>
                <a:gd name="T73" fmla="*/ 29092886 h 8000"/>
                <a:gd name="T74" fmla="*/ 919104501 w 10000"/>
                <a:gd name="T75" fmla="*/ 26928774 h 8000"/>
                <a:gd name="T76" fmla="*/ 803300216 w 10000"/>
                <a:gd name="T77" fmla="*/ 24543232 h 8000"/>
                <a:gd name="T78" fmla="*/ 692627021 w 10000"/>
                <a:gd name="T79" fmla="*/ 22059364 h 8000"/>
                <a:gd name="T80" fmla="*/ 590015498 w 10000"/>
                <a:gd name="T81" fmla="*/ 19378844 h 8000"/>
                <a:gd name="T82" fmla="*/ 493633807 w 10000"/>
                <a:gd name="T83" fmla="*/ 16747408 h 8000"/>
                <a:gd name="T84" fmla="*/ 404948753 w 10000"/>
                <a:gd name="T85" fmla="*/ 14116130 h 8000"/>
                <a:gd name="T86" fmla="*/ 323592271 w 10000"/>
                <a:gd name="T87" fmla="*/ 11632262 h 8000"/>
                <a:gd name="T88" fmla="*/ 251398018 w 10000"/>
                <a:gd name="T89" fmla="*/ 9271340 h 8000"/>
                <a:gd name="T90" fmla="*/ 186166092 w 10000"/>
                <a:gd name="T91" fmla="*/ 7033366 h 8000"/>
                <a:gd name="T92" fmla="*/ 131195742 w 10000"/>
                <a:gd name="T93" fmla="*/ 5164388 h 8000"/>
                <a:gd name="T94" fmla="*/ 85020768 w 10000"/>
                <a:gd name="T95" fmla="*/ 3393736 h 8000"/>
                <a:gd name="T96" fmla="*/ 21621893 w 10000"/>
                <a:gd name="T97" fmla="*/ 860784 h 8000"/>
                <a:gd name="T98" fmla="*/ 0 w 10000"/>
                <a:gd name="T99" fmla="*/ 0 h 8000"/>
                <a:gd name="T100" fmla="*/ 0 w 10000"/>
                <a:gd name="T101" fmla="*/ 0 h 80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000" h="8000">
                  <a:moveTo>
                    <a:pt x="0" y="0"/>
                  </a:moveTo>
                  <a:lnTo>
                    <a:pt x="0" y="7970"/>
                  </a:lnTo>
                  <a:lnTo>
                    <a:pt x="10000" y="8000"/>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4" name="Freeform 5">
              <a:extLst>
                <a:ext uri="{FF2B5EF4-FFF2-40B4-BE49-F238E27FC236}">
                  <a16:creationId xmlns:a16="http://schemas.microsoft.com/office/drawing/2014/main" id="{CCABE373-CCC1-4B48-B428-4F492D9B8D11}"/>
                </a:ext>
              </a:extLst>
            </p:cNvPr>
            <p:cNvSpPr>
              <a:spLocks/>
            </p:cNvSpPr>
            <p:nvPr/>
          </p:nvSpPr>
          <p:spPr bwMode="gray">
            <a:xfrm rot="-5677511">
              <a:off x="4203594" y="1826078"/>
              <a:ext cx="3299407" cy="440924"/>
            </a:xfrm>
            <a:custGeom>
              <a:avLst/>
              <a:gdLst>
                <a:gd name="T0" fmla="*/ 9253187 w 10000"/>
                <a:gd name="T1" fmla="*/ 17583959 h 5291"/>
                <a:gd name="T2" fmla="*/ 1084036337 w 10000"/>
                <a:gd name="T3" fmla="*/ 36744278 h 5291"/>
                <a:gd name="T4" fmla="*/ 1088608655 w 10000"/>
                <a:gd name="T5" fmla="*/ 0 h 5291"/>
                <a:gd name="T6" fmla="*/ 1088608655 w 10000"/>
                <a:gd name="T7" fmla="*/ 0 h 5291"/>
                <a:gd name="T8" fmla="*/ 1052358070 w 10000"/>
                <a:gd name="T9" fmla="*/ 1416690 h 5291"/>
                <a:gd name="T10" fmla="*/ 1016107156 w 10000"/>
                <a:gd name="T11" fmla="*/ 2777880 h 5291"/>
                <a:gd name="T12" fmla="*/ 979856571 w 10000"/>
                <a:gd name="T13" fmla="*/ 4097318 h 5291"/>
                <a:gd name="T14" fmla="*/ 943497106 w 10000"/>
                <a:gd name="T15" fmla="*/ 5229337 h 5291"/>
                <a:gd name="T16" fmla="*/ 907137641 w 10000"/>
                <a:gd name="T17" fmla="*/ 6368273 h 5291"/>
                <a:gd name="T18" fmla="*/ 870778176 w 10000"/>
                <a:gd name="T19" fmla="*/ 7437707 h 5291"/>
                <a:gd name="T20" fmla="*/ 834853902 w 10000"/>
                <a:gd name="T21" fmla="*/ 8347472 h 5291"/>
                <a:gd name="T22" fmla="*/ 798276676 w 10000"/>
                <a:gd name="T23" fmla="*/ 9201736 h 5291"/>
                <a:gd name="T24" fmla="*/ 762026092 w 10000"/>
                <a:gd name="T25" fmla="*/ 10000333 h 5291"/>
                <a:gd name="T26" fmla="*/ 726428460 w 10000"/>
                <a:gd name="T27" fmla="*/ 10680928 h 5291"/>
                <a:gd name="T28" fmla="*/ 690177875 w 10000"/>
                <a:gd name="T29" fmla="*/ 11361522 h 5291"/>
                <a:gd name="T30" fmla="*/ 654580243 w 10000"/>
                <a:gd name="T31" fmla="*/ 11937865 h 5291"/>
                <a:gd name="T32" fmla="*/ 618982941 w 10000"/>
                <a:gd name="T33" fmla="*/ 12389289 h 5291"/>
                <a:gd name="T34" fmla="*/ 583385309 w 10000"/>
                <a:gd name="T35" fmla="*/ 12847630 h 5291"/>
                <a:gd name="T36" fmla="*/ 548223198 w 10000"/>
                <a:gd name="T37" fmla="*/ 13236553 h 5291"/>
                <a:gd name="T38" fmla="*/ 513496610 w 10000"/>
                <a:gd name="T39" fmla="*/ 13528225 h 5291"/>
                <a:gd name="T40" fmla="*/ 478552260 w 10000"/>
                <a:gd name="T41" fmla="*/ 13750479 h 5291"/>
                <a:gd name="T42" fmla="*/ 444043432 w 10000"/>
                <a:gd name="T43" fmla="*/ 13979649 h 5291"/>
                <a:gd name="T44" fmla="*/ 409970126 w 10000"/>
                <a:gd name="T45" fmla="*/ 14090734 h 5291"/>
                <a:gd name="T46" fmla="*/ 376005371 w 10000"/>
                <a:gd name="T47" fmla="*/ 14208820 h 5291"/>
                <a:gd name="T48" fmla="*/ 342367587 w 10000"/>
                <a:gd name="T49" fmla="*/ 14257404 h 5291"/>
                <a:gd name="T50" fmla="*/ 309056114 w 10000"/>
                <a:gd name="T51" fmla="*/ 14208820 h 5291"/>
                <a:gd name="T52" fmla="*/ 276180162 w 10000"/>
                <a:gd name="T53" fmla="*/ 14208820 h 5291"/>
                <a:gd name="T54" fmla="*/ 243630522 w 10000"/>
                <a:gd name="T55" fmla="*/ 14090734 h 5291"/>
                <a:gd name="T56" fmla="*/ 211516734 w 10000"/>
                <a:gd name="T57" fmla="*/ 13917148 h 5291"/>
                <a:gd name="T58" fmla="*/ 179947018 w 10000"/>
                <a:gd name="T59" fmla="*/ 13750479 h 5291"/>
                <a:gd name="T60" fmla="*/ 148921704 w 10000"/>
                <a:gd name="T61" fmla="*/ 13576809 h 5291"/>
                <a:gd name="T62" fmla="*/ 118114151 w 10000"/>
                <a:gd name="T63" fmla="*/ 13299055 h 5291"/>
                <a:gd name="T64" fmla="*/ 87741790 w 10000"/>
                <a:gd name="T65" fmla="*/ 13007383 h 5291"/>
                <a:gd name="T66" fmla="*/ 58022712 w 10000"/>
                <a:gd name="T67" fmla="*/ 12729628 h 5291"/>
                <a:gd name="T68" fmla="*/ 0 w 10000"/>
                <a:gd name="T69" fmla="*/ 11986533 h 5291"/>
                <a:gd name="T70" fmla="*/ 9253187 w 10000"/>
                <a:gd name="T71" fmla="*/ 17583959 h 529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000" h="5291">
                  <a:moveTo>
                    <a:pt x="85" y="2532"/>
                  </a:moveTo>
                  <a:cubicBezTo>
                    <a:pt x="1736" y="3911"/>
                    <a:pt x="7524" y="5298"/>
                    <a:pt x="9958" y="5291"/>
                  </a:cubicBezTo>
                  <a:cubicBezTo>
                    <a:pt x="9989" y="1958"/>
                    <a:pt x="9969" y="3333"/>
                    <a:pt x="10000" y="0"/>
                  </a:cubicBez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5" name="Freeform 5">
              <a:extLst>
                <a:ext uri="{FF2B5EF4-FFF2-40B4-BE49-F238E27FC236}">
                  <a16:creationId xmlns:a16="http://schemas.microsoft.com/office/drawing/2014/main" id="{7EEB7926-0950-A744-967F-8F58D3891F33}"/>
                </a:ext>
              </a:extLst>
            </p:cNvPr>
            <p:cNvSpPr>
              <a:spLocks noEditPoints="1"/>
            </p:cNvSpPr>
            <p:nvPr/>
          </p:nvSpPr>
          <p:spPr bwMode="gray">
            <a:xfrm>
              <a:off x="0" y="1587"/>
              <a:ext cx="12192000" cy="6856413"/>
            </a:xfrm>
            <a:custGeom>
              <a:avLst/>
              <a:gdLst>
                <a:gd name="T0" fmla="*/ 0 w 15356"/>
                <a:gd name="T1" fmla="*/ 0 h 8638"/>
                <a:gd name="T2" fmla="*/ 0 w 15356"/>
                <a:gd name="T3" fmla="*/ 2147483646 h 8638"/>
                <a:gd name="T4" fmla="*/ 2147483646 w 15356"/>
                <a:gd name="T5" fmla="*/ 2147483646 h 8638"/>
                <a:gd name="T6" fmla="*/ 2147483646 w 15356"/>
                <a:gd name="T7" fmla="*/ 0 h 8638"/>
                <a:gd name="T8" fmla="*/ 0 w 15356"/>
                <a:gd name="T9" fmla="*/ 0 h 8638"/>
                <a:gd name="T10" fmla="*/ 2147483646 w 15356"/>
                <a:gd name="T11" fmla="*/ 2147483646 h 8638"/>
                <a:gd name="T12" fmla="*/ 378220357 w 15356"/>
                <a:gd name="T13" fmla="*/ 2147483646 h 8638"/>
                <a:gd name="T14" fmla="*/ 378220357 w 15356"/>
                <a:gd name="T15" fmla="*/ 372983152 h 8638"/>
                <a:gd name="T16" fmla="*/ 2147483646 w 15356"/>
                <a:gd name="T17" fmla="*/ 372983152 h 8638"/>
                <a:gd name="T18" fmla="*/ 2147483646 w 15356"/>
                <a:gd name="T19" fmla="*/ 2147483646 h 86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6" name="Rectangle 15">
            <a:extLst>
              <a:ext uri="{FF2B5EF4-FFF2-40B4-BE49-F238E27FC236}">
                <a16:creationId xmlns:a16="http://schemas.microsoft.com/office/drawing/2014/main" id="{D92FD12C-0660-FC4C-B0EA-7654B2C0DA90}"/>
              </a:ext>
            </a:extLst>
          </p:cNvPr>
          <p:cNvSpPr/>
          <p:nvPr/>
        </p:nvSpPr>
        <p:spPr>
          <a:xfrm>
            <a:off x="10437813"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pic>
        <p:nvPicPr>
          <p:cNvPr id="17" name="Picture 35">
            <a:extLst>
              <a:ext uri="{FF2B5EF4-FFF2-40B4-BE49-F238E27FC236}">
                <a16:creationId xmlns:a16="http://schemas.microsoft.com/office/drawing/2014/main" id="{7AFC40F2-EE13-1E40-B1C9-7C68F02F8D5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60401" y="5668963"/>
            <a:ext cx="48133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153907" y="1693332"/>
            <a:ext cx="3860260" cy="1735668"/>
          </a:xfrm>
        </p:spPr>
        <p:txBody>
          <a:bodyPr anchor="b">
            <a:normAutofit/>
          </a:bodyPr>
          <a:lstStyle>
            <a:lvl1pPr algn="l">
              <a:defRPr sz="27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547872" y="1143000"/>
            <a:ext cx="3227193" cy="4572000"/>
          </a:xfrm>
          <a:prstGeom prst="roundRect">
            <a:avLst>
              <a:gd name="adj" fmla="val 1858"/>
            </a:avLst>
          </a:prstGeom>
          <a:effectLst/>
        </p:spPr>
        <p:txBody>
          <a:bodyPr rtlCol="0">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pPr lvl="0"/>
            <a:r>
              <a:rPr lang="en-US" noProof="0" dirty="0"/>
              <a:t>Drag picture to placeholder or click icon to add</a:t>
            </a:r>
          </a:p>
        </p:txBody>
      </p:sp>
      <p:sp>
        <p:nvSpPr>
          <p:cNvPr id="4" name="Text Placeholder 3"/>
          <p:cNvSpPr>
            <a:spLocks noGrp="1"/>
          </p:cNvSpPr>
          <p:nvPr>
            <p:ph type="body" sz="half" idx="2"/>
          </p:nvPr>
        </p:nvSpPr>
        <p:spPr bwMode="gray">
          <a:xfrm>
            <a:off x="1154955" y="3657600"/>
            <a:ext cx="3859212" cy="1371600"/>
          </a:xfrm>
        </p:spPr>
        <p:txBody>
          <a:bodyPr>
            <a:normAutofit/>
          </a:bodyPr>
          <a:lstStyle>
            <a:lvl1pPr marL="0" indent="0">
              <a:buNone/>
              <a:defRPr sz="1050">
                <a:solidFill>
                  <a:schemeClr val="accent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18" name="Footer Placeholder 5">
            <a:extLst>
              <a:ext uri="{FF2B5EF4-FFF2-40B4-BE49-F238E27FC236}">
                <a16:creationId xmlns:a16="http://schemas.microsoft.com/office/drawing/2014/main" id="{D8871F16-D1C8-124B-AA1B-F46CAD918FAF}"/>
              </a:ext>
            </a:extLst>
          </p:cNvPr>
          <p:cNvSpPr>
            <a:spLocks noGrp="1"/>
          </p:cNvSpPr>
          <p:nvPr>
            <p:ph type="ftr" sz="quarter" idx="10"/>
          </p:nvPr>
        </p:nvSpPr>
        <p:spPr/>
        <p:txBody>
          <a:bodyPr/>
          <a:lstStyle>
            <a:lvl1pPr>
              <a:defRPr/>
            </a:lvl1pPr>
          </a:lstStyle>
          <a:p>
            <a:pPr>
              <a:defRPr/>
            </a:pPr>
            <a:r>
              <a:rPr lang="en-US"/>
              <a:t>
              </a:t>
            </a:r>
          </a:p>
        </p:txBody>
      </p:sp>
    </p:spTree>
    <p:extLst>
      <p:ext uri="{BB962C8B-B14F-4D97-AF65-F5344CB8AC3E}">
        <p14:creationId xmlns:p14="http://schemas.microsoft.com/office/powerpoint/2010/main" val="17498610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grpSp>
        <p:nvGrpSpPr>
          <p:cNvPr id="5" name="Group 17">
            <a:extLst>
              <a:ext uri="{FF2B5EF4-FFF2-40B4-BE49-F238E27FC236}">
                <a16:creationId xmlns:a16="http://schemas.microsoft.com/office/drawing/2014/main" id="{C130DD8F-CE18-7D46-8B03-14CE68CF0DE7}"/>
              </a:ext>
            </a:extLst>
          </p:cNvPr>
          <p:cNvGrpSpPr>
            <a:grpSpLocks/>
          </p:cNvGrpSpPr>
          <p:nvPr/>
        </p:nvGrpSpPr>
        <p:grpSpPr bwMode="auto">
          <a:xfrm>
            <a:off x="0" y="-1588"/>
            <a:ext cx="12192000" cy="6865938"/>
            <a:chOff x="0" y="-2373"/>
            <a:chExt cx="12192000" cy="6867027"/>
          </a:xfrm>
        </p:grpSpPr>
        <p:sp>
          <p:nvSpPr>
            <p:cNvPr id="6" name="Rectangle 5">
              <a:extLst>
                <a:ext uri="{FF2B5EF4-FFF2-40B4-BE49-F238E27FC236}">
                  <a16:creationId xmlns:a16="http://schemas.microsoft.com/office/drawing/2014/main" id="{381B5BEB-89E3-6546-89E1-35FEEBDB9231}"/>
                </a:ext>
              </a:extLst>
            </p:cNvPr>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7" name="Oval 6">
              <a:extLst>
                <a:ext uri="{FF2B5EF4-FFF2-40B4-BE49-F238E27FC236}">
                  <a16:creationId xmlns:a16="http://schemas.microsoft.com/office/drawing/2014/main" id="{B2F7C41D-307B-7F4B-AA28-34C6367E8F27}"/>
                </a:ext>
              </a:extLst>
            </p:cNvPr>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Oval 7">
              <a:extLst>
                <a:ext uri="{FF2B5EF4-FFF2-40B4-BE49-F238E27FC236}">
                  <a16:creationId xmlns:a16="http://schemas.microsoft.com/office/drawing/2014/main" id="{3CC2C9CF-9AFB-AE44-8AB9-D501D0B6BC68}"/>
                </a:ext>
              </a:extLst>
            </p:cNvPr>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9" name="Oval 8">
              <a:extLst>
                <a:ext uri="{FF2B5EF4-FFF2-40B4-BE49-F238E27FC236}">
                  <a16:creationId xmlns:a16="http://schemas.microsoft.com/office/drawing/2014/main" id="{8FFC9B76-5430-8249-B7E5-BF02821B13CA}"/>
                </a:ext>
              </a:extLst>
            </p:cNvPr>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0" name="Oval 9">
              <a:extLst>
                <a:ext uri="{FF2B5EF4-FFF2-40B4-BE49-F238E27FC236}">
                  <a16:creationId xmlns:a16="http://schemas.microsoft.com/office/drawing/2014/main" id="{235B5A7D-406D-A640-B9BE-DD313D38331F}"/>
                </a:ext>
              </a:extLst>
            </p:cNvPr>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1" name="Oval 10">
              <a:extLst>
                <a:ext uri="{FF2B5EF4-FFF2-40B4-BE49-F238E27FC236}">
                  <a16:creationId xmlns:a16="http://schemas.microsoft.com/office/drawing/2014/main" id="{E95C0CDC-7628-844D-9B0C-BDFE091F47B0}"/>
                </a:ext>
              </a:extLst>
            </p:cNvPr>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2" name="Freeform 5">
              <a:extLst>
                <a:ext uri="{FF2B5EF4-FFF2-40B4-BE49-F238E27FC236}">
                  <a16:creationId xmlns:a16="http://schemas.microsoft.com/office/drawing/2014/main" id="{3568721C-A1FF-3043-9BF2-1C8521C8352D}"/>
                </a:ext>
              </a:extLst>
            </p:cNvPr>
            <p:cNvSpPr>
              <a:spLocks/>
            </p:cNvSpPr>
            <p:nvPr/>
          </p:nvSpPr>
          <p:spPr bwMode="gray">
            <a:xfrm rot="10371525">
              <a:off x="263767" y="4438254"/>
              <a:ext cx="3299407" cy="440924"/>
            </a:xfrm>
            <a:custGeom>
              <a:avLst/>
              <a:gdLst>
                <a:gd name="T0" fmla="*/ 9253187 w 10000"/>
                <a:gd name="T1" fmla="*/ 17583959 h 5291"/>
                <a:gd name="T2" fmla="*/ 1084036337 w 10000"/>
                <a:gd name="T3" fmla="*/ 36744278 h 5291"/>
                <a:gd name="T4" fmla="*/ 1088608655 w 10000"/>
                <a:gd name="T5" fmla="*/ 0 h 5291"/>
                <a:gd name="T6" fmla="*/ 1088608655 w 10000"/>
                <a:gd name="T7" fmla="*/ 0 h 5291"/>
                <a:gd name="T8" fmla="*/ 1052358070 w 10000"/>
                <a:gd name="T9" fmla="*/ 1416690 h 5291"/>
                <a:gd name="T10" fmla="*/ 1016107156 w 10000"/>
                <a:gd name="T11" fmla="*/ 2777880 h 5291"/>
                <a:gd name="T12" fmla="*/ 979856571 w 10000"/>
                <a:gd name="T13" fmla="*/ 4097318 h 5291"/>
                <a:gd name="T14" fmla="*/ 943497106 w 10000"/>
                <a:gd name="T15" fmla="*/ 5229337 h 5291"/>
                <a:gd name="T16" fmla="*/ 907137641 w 10000"/>
                <a:gd name="T17" fmla="*/ 6368273 h 5291"/>
                <a:gd name="T18" fmla="*/ 870778176 w 10000"/>
                <a:gd name="T19" fmla="*/ 7437707 h 5291"/>
                <a:gd name="T20" fmla="*/ 834853902 w 10000"/>
                <a:gd name="T21" fmla="*/ 8347472 h 5291"/>
                <a:gd name="T22" fmla="*/ 798276676 w 10000"/>
                <a:gd name="T23" fmla="*/ 9201736 h 5291"/>
                <a:gd name="T24" fmla="*/ 762026092 w 10000"/>
                <a:gd name="T25" fmla="*/ 10000333 h 5291"/>
                <a:gd name="T26" fmla="*/ 726428460 w 10000"/>
                <a:gd name="T27" fmla="*/ 10680928 h 5291"/>
                <a:gd name="T28" fmla="*/ 690177875 w 10000"/>
                <a:gd name="T29" fmla="*/ 11361522 h 5291"/>
                <a:gd name="T30" fmla="*/ 654580243 w 10000"/>
                <a:gd name="T31" fmla="*/ 11937865 h 5291"/>
                <a:gd name="T32" fmla="*/ 618982941 w 10000"/>
                <a:gd name="T33" fmla="*/ 12389289 h 5291"/>
                <a:gd name="T34" fmla="*/ 583385309 w 10000"/>
                <a:gd name="T35" fmla="*/ 12847630 h 5291"/>
                <a:gd name="T36" fmla="*/ 548223198 w 10000"/>
                <a:gd name="T37" fmla="*/ 13236553 h 5291"/>
                <a:gd name="T38" fmla="*/ 513496610 w 10000"/>
                <a:gd name="T39" fmla="*/ 13528225 h 5291"/>
                <a:gd name="T40" fmla="*/ 478552260 w 10000"/>
                <a:gd name="T41" fmla="*/ 13750479 h 5291"/>
                <a:gd name="T42" fmla="*/ 444043432 w 10000"/>
                <a:gd name="T43" fmla="*/ 13979649 h 5291"/>
                <a:gd name="T44" fmla="*/ 409970126 w 10000"/>
                <a:gd name="T45" fmla="*/ 14090734 h 5291"/>
                <a:gd name="T46" fmla="*/ 376005371 w 10000"/>
                <a:gd name="T47" fmla="*/ 14208820 h 5291"/>
                <a:gd name="T48" fmla="*/ 342367587 w 10000"/>
                <a:gd name="T49" fmla="*/ 14257404 h 5291"/>
                <a:gd name="T50" fmla="*/ 309056114 w 10000"/>
                <a:gd name="T51" fmla="*/ 14208820 h 5291"/>
                <a:gd name="T52" fmla="*/ 276180162 w 10000"/>
                <a:gd name="T53" fmla="*/ 14208820 h 5291"/>
                <a:gd name="T54" fmla="*/ 243630522 w 10000"/>
                <a:gd name="T55" fmla="*/ 14090734 h 5291"/>
                <a:gd name="T56" fmla="*/ 211516734 w 10000"/>
                <a:gd name="T57" fmla="*/ 13917148 h 5291"/>
                <a:gd name="T58" fmla="*/ 179947018 w 10000"/>
                <a:gd name="T59" fmla="*/ 13750479 h 5291"/>
                <a:gd name="T60" fmla="*/ 148921704 w 10000"/>
                <a:gd name="T61" fmla="*/ 13576809 h 5291"/>
                <a:gd name="T62" fmla="*/ 118114151 w 10000"/>
                <a:gd name="T63" fmla="*/ 13299055 h 5291"/>
                <a:gd name="T64" fmla="*/ 87741790 w 10000"/>
                <a:gd name="T65" fmla="*/ 13007383 h 5291"/>
                <a:gd name="T66" fmla="*/ 58022712 w 10000"/>
                <a:gd name="T67" fmla="*/ 12729628 h 5291"/>
                <a:gd name="T68" fmla="*/ 0 w 10000"/>
                <a:gd name="T69" fmla="*/ 11986533 h 5291"/>
                <a:gd name="T70" fmla="*/ 9253187 w 10000"/>
                <a:gd name="T71" fmla="*/ 17583959 h 529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000" h="5291">
                  <a:moveTo>
                    <a:pt x="85" y="2532"/>
                  </a:moveTo>
                  <a:cubicBezTo>
                    <a:pt x="1736" y="3911"/>
                    <a:pt x="7524" y="5298"/>
                    <a:pt x="9958" y="5291"/>
                  </a:cubicBezTo>
                  <a:cubicBezTo>
                    <a:pt x="9989" y="1958"/>
                    <a:pt x="9969" y="3333"/>
                    <a:pt x="10000" y="0"/>
                  </a:cubicBez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3" name="Freeform 5">
              <a:extLst>
                <a:ext uri="{FF2B5EF4-FFF2-40B4-BE49-F238E27FC236}">
                  <a16:creationId xmlns:a16="http://schemas.microsoft.com/office/drawing/2014/main" id="{4E82D605-C412-C54C-BC2D-70C14B5ECFDF}"/>
                </a:ext>
              </a:extLst>
            </p:cNvPr>
            <p:cNvSpPr>
              <a:spLocks/>
            </p:cNvSpPr>
            <p:nvPr/>
          </p:nvSpPr>
          <p:spPr bwMode="gray">
            <a:xfrm rot="10800000">
              <a:off x="459506" y="321130"/>
              <a:ext cx="11277600" cy="4533900"/>
            </a:xfrm>
            <a:custGeom>
              <a:avLst/>
              <a:gdLst>
                <a:gd name="T0" fmla="*/ 0 w 7104"/>
                <a:gd name="T1" fmla="*/ 0 h 2856"/>
                <a:gd name="T2" fmla="*/ 0 w 7104"/>
                <a:gd name="T3" fmla="*/ 2147483646 h 2856"/>
                <a:gd name="T4" fmla="*/ 2147483646 w 7104"/>
                <a:gd name="T5" fmla="*/ 2147483646 h 2856"/>
                <a:gd name="T6" fmla="*/ 2147483646 w 7104"/>
                <a:gd name="T7" fmla="*/ 2520950 h 2856"/>
                <a:gd name="T8" fmla="*/ 2147483646 w 7104"/>
                <a:gd name="T9" fmla="*/ 2520950 h 2856"/>
                <a:gd name="T10" fmla="*/ 2147483646 w 7104"/>
                <a:gd name="T11" fmla="*/ 65524063 h 2856"/>
                <a:gd name="T12" fmla="*/ 2147483646 w 7104"/>
                <a:gd name="T13" fmla="*/ 126007813 h 2856"/>
                <a:gd name="T14" fmla="*/ 2147483646 w 7104"/>
                <a:gd name="T15" fmla="*/ 183972200 h 2856"/>
                <a:gd name="T16" fmla="*/ 2147483646 w 7104"/>
                <a:gd name="T17" fmla="*/ 234375325 h 2856"/>
                <a:gd name="T18" fmla="*/ 2147483646 w 7104"/>
                <a:gd name="T19" fmla="*/ 284778450 h 2856"/>
                <a:gd name="T20" fmla="*/ 2147483646 w 7104"/>
                <a:gd name="T21" fmla="*/ 332660625 h 2856"/>
                <a:gd name="T22" fmla="*/ 2147483646 w 7104"/>
                <a:gd name="T23" fmla="*/ 372983125 h 2856"/>
                <a:gd name="T24" fmla="*/ 2147483646 w 7104"/>
                <a:gd name="T25" fmla="*/ 410786263 h 2856"/>
                <a:gd name="T26" fmla="*/ 2147483646 w 7104"/>
                <a:gd name="T27" fmla="*/ 446068450 h 2856"/>
                <a:gd name="T28" fmla="*/ 2147483646 w 7104"/>
                <a:gd name="T29" fmla="*/ 476310325 h 2856"/>
                <a:gd name="T30" fmla="*/ 2147483646 w 7104"/>
                <a:gd name="T31" fmla="*/ 506552200 h 2856"/>
                <a:gd name="T32" fmla="*/ 2147483646 w 7104"/>
                <a:gd name="T33" fmla="*/ 531753763 h 2856"/>
                <a:gd name="T34" fmla="*/ 2147483646 w 7104"/>
                <a:gd name="T35" fmla="*/ 551915013 h 2856"/>
                <a:gd name="T36" fmla="*/ 2147483646 w 7104"/>
                <a:gd name="T37" fmla="*/ 572076263 h 2856"/>
                <a:gd name="T38" fmla="*/ 2147483646 w 7104"/>
                <a:gd name="T39" fmla="*/ 589716563 h 2856"/>
                <a:gd name="T40" fmla="*/ 2147483646 w 7104"/>
                <a:gd name="T41" fmla="*/ 602318138 h 2856"/>
                <a:gd name="T42" fmla="*/ 2147483646 w 7104"/>
                <a:gd name="T43" fmla="*/ 612398763 h 2856"/>
                <a:gd name="T44" fmla="*/ 2147483646 w 7104"/>
                <a:gd name="T45" fmla="*/ 622479388 h 2856"/>
                <a:gd name="T46" fmla="*/ 2147483646 w 7104"/>
                <a:gd name="T47" fmla="*/ 627519700 h 2856"/>
                <a:gd name="T48" fmla="*/ 2147483646 w 7104"/>
                <a:gd name="T49" fmla="*/ 632560013 h 2856"/>
                <a:gd name="T50" fmla="*/ 2147483646 w 7104"/>
                <a:gd name="T51" fmla="*/ 635079375 h 2856"/>
                <a:gd name="T52" fmla="*/ 2147483646 w 7104"/>
                <a:gd name="T53" fmla="*/ 632560013 h 2856"/>
                <a:gd name="T54" fmla="*/ 2147483646 w 7104"/>
                <a:gd name="T55" fmla="*/ 632560013 h 2856"/>
                <a:gd name="T56" fmla="*/ 2147483646 w 7104"/>
                <a:gd name="T57" fmla="*/ 627519700 h 2856"/>
                <a:gd name="T58" fmla="*/ 2147483646 w 7104"/>
                <a:gd name="T59" fmla="*/ 619958438 h 2856"/>
                <a:gd name="T60" fmla="*/ 2147483646 w 7104"/>
                <a:gd name="T61" fmla="*/ 612398763 h 2856"/>
                <a:gd name="T62" fmla="*/ 2147483646 w 7104"/>
                <a:gd name="T63" fmla="*/ 604837500 h 2856"/>
                <a:gd name="T64" fmla="*/ 2147483646 w 7104"/>
                <a:gd name="T65" fmla="*/ 592237513 h 2856"/>
                <a:gd name="T66" fmla="*/ 2147483646 w 7104"/>
                <a:gd name="T67" fmla="*/ 579635938 h 2856"/>
                <a:gd name="T68" fmla="*/ 2147483646 w 7104"/>
                <a:gd name="T69" fmla="*/ 567035950 h 2856"/>
                <a:gd name="T70" fmla="*/ 2147483646 w 7104"/>
                <a:gd name="T71" fmla="*/ 534273125 h 2856"/>
                <a:gd name="T72" fmla="*/ 2147483646 w 7104"/>
                <a:gd name="T73" fmla="*/ 498990938 h 2856"/>
                <a:gd name="T74" fmla="*/ 2147483646 w 7104"/>
                <a:gd name="T75" fmla="*/ 461189388 h 2856"/>
                <a:gd name="T76" fmla="*/ 2147483646 w 7104"/>
                <a:gd name="T77" fmla="*/ 420866888 h 2856"/>
                <a:gd name="T78" fmla="*/ 2147483646 w 7104"/>
                <a:gd name="T79" fmla="*/ 378023438 h 2856"/>
                <a:gd name="T80" fmla="*/ 2147483646 w 7104"/>
                <a:gd name="T81" fmla="*/ 332660625 h 2856"/>
                <a:gd name="T82" fmla="*/ 2147483646 w 7104"/>
                <a:gd name="T83" fmla="*/ 287297813 h 2856"/>
                <a:gd name="T84" fmla="*/ 1978323450 w 7104"/>
                <a:gd name="T85" fmla="*/ 241935000 h 2856"/>
                <a:gd name="T86" fmla="*/ 1580138763 w 7104"/>
                <a:gd name="T87" fmla="*/ 199093138 h 2856"/>
                <a:gd name="T88" fmla="*/ 1227316888 w 7104"/>
                <a:gd name="T89" fmla="*/ 158770638 h 2856"/>
                <a:gd name="T90" fmla="*/ 909777200 w 7104"/>
                <a:gd name="T91" fmla="*/ 120967500 h 2856"/>
                <a:gd name="T92" fmla="*/ 640119688 w 7104"/>
                <a:gd name="T93" fmla="*/ 88206263 h 2856"/>
                <a:gd name="T94" fmla="*/ 415826575 w 7104"/>
                <a:gd name="T95" fmla="*/ 57964388 h 2856"/>
                <a:gd name="T96" fmla="*/ 105846563 w 7104"/>
                <a:gd name="T97" fmla="*/ 15120938 h 2856"/>
                <a:gd name="T98" fmla="*/ 0 w 7104"/>
                <a:gd name="T99" fmla="*/ 0 h 2856"/>
                <a:gd name="T100" fmla="*/ 0 w 7104"/>
                <a:gd name="T101" fmla="*/ 0 h 28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104" h="2856">
                  <a:moveTo>
                    <a:pt x="0" y="0"/>
                  </a:moveTo>
                  <a:lnTo>
                    <a:pt x="0" y="2856"/>
                  </a:lnTo>
                  <a:lnTo>
                    <a:pt x="7104" y="2856"/>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4" name="Freeform 5">
              <a:extLst>
                <a:ext uri="{FF2B5EF4-FFF2-40B4-BE49-F238E27FC236}">
                  <a16:creationId xmlns:a16="http://schemas.microsoft.com/office/drawing/2014/main" id="{5239549A-B44A-D849-90CF-E32F7034D8E0}"/>
                </a:ext>
              </a:extLst>
            </p:cNvPr>
            <p:cNvSpPr>
              <a:spLocks noEditPoints="1"/>
            </p:cNvSpPr>
            <p:nvPr/>
          </p:nvSpPr>
          <p:spPr bwMode="gray">
            <a:xfrm>
              <a:off x="0" y="1587"/>
              <a:ext cx="12192000" cy="6856413"/>
            </a:xfrm>
            <a:custGeom>
              <a:avLst/>
              <a:gdLst>
                <a:gd name="T0" fmla="*/ 0 w 15356"/>
                <a:gd name="T1" fmla="*/ 0 h 8638"/>
                <a:gd name="T2" fmla="*/ 0 w 15356"/>
                <a:gd name="T3" fmla="*/ 2147483646 h 8638"/>
                <a:gd name="T4" fmla="*/ 2147483646 w 15356"/>
                <a:gd name="T5" fmla="*/ 2147483646 h 8638"/>
                <a:gd name="T6" fmla="*/ 2147483646 w 15356"/>
                <a:gd name="T7" fmla="*/ 0 h 8638"/>
                <a:gd name="T8" fmla="*/ 0 w 15356"/>
                <a:gd name="T9" fmla="*/ 0 h 8638"/>
                <a:gd name="T10" fmla="*/ 2147483646 w 15356"/>
                <a:gd name="T11" fmla="*/ 2147483646 h 8638"/>
                <a:gd name="T12" fmla="*/ 378220357 w 15356"/>
                <a:gd name="T13" fmla="*/ 2147483646 h 8638"/>
                <a:gd name="T14" fmla="*/ 378220357 w 15356"/>
                <a:gd name="T15" fmla="*/ 372983152 h 8638"/>
                <a:gd name="T16" fmla="*/ 2147483646 w 15356"/>
                <a:gd name="T17" fmla="*/ 372983152 h 8638"/>
                <a:gd name="T18" fmla="*/ 2147483646 w 15356"/>
                <a:gd name="T19" fmla="*/ 2147483646 h 86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5" name="Rectangle 14">
            <a:extLst>
              <a:ext uri="{FF2B5EF4-FFF2-40B4-BE49-F238E27FC236}">
                <a16:creationId xmlns:a16="http://schemas.microsoft.com/office/drawing/2014/main" id="{036946BA-C26A-7B44-BEF4-479E95A8E393}"/>
              </a:ext>
            </a:extLst>
          </p:cNvPr>
          <p:cNvSpPr/>
          <p:nvPr/>
        </p:nvSpPr>
        <p:spPr>
          <a:xfrm>
            <a:off x="10437813"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pic>
        <p:nvPicPr>
          <p:cNvPr id="16" name="Picture 34">
            <a:extLst>
              <a:ext uri="{FF2B5EF4-FFF2-40B4-BE49-F238E27FC236}">
                <a16:creationId xmlns:a16="http://schemas.microsoft.com/office/drawing/2014/main" id="{2B432EA0-4FAC-FE43-8527-5C933FAD072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386763" y="5930902"/>
            <a:ext cx="312420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154957" y="4817819"/>
            <a:ext cx="8825657" cy="566738"/>
          </a:xfrm>
        </p:spPr>
        <p:txBody>
          <a:bodyPr anchor="b">
            <a:normAutofit/>
          </a:bodyPr>
          <a:lstStyle>
            <a:lvl1pPr algn="l">
              <a:defRPr sz="18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54955" y="685800"/>
            <a:ext cx="8825659" cy="3429000"/>
          </a:xfrm>
          <a:prstGeom prst="roundRect">
            <a:avLst>
              <a:gd name="adj" fmla="val 1858"/>
            </a:avLst>
          </a:prstGeom>
          <a:effectLst/>
        </p:spPr>
        <p:txBody>
          <a:bodyPr rtlCol="0">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pPr lvl="0"/>
            <a:r>
              <a:rPr lang="en-US" noProof="0" dirty="0"/>
              <a:t>Drag picture to placeholder or click icon to add</a:t>
            </a:r>
          </a:p>
        </p:txBody>
      </p:sp>
      <p:sp>
        <p:nvSpPr>
          <p:cNvPr id="4" name="Text Placeholder 3"/>
          <p:cNvSpPr>
            <a:spLocks noGrp="1"/>
          </p:cNvSpPr>
          <p:nvPr>
            <p:ph type="body" sz="half" idx="2"/>
          </p:nvPr>
        </p:nvSpPr>
        <p:spPr bwMode="gray">
          <a:xfrm>
            <a:off x="1154956" y="5387810"/>
            <a:ext cx="8825656" cy="493712"/>
          </a:xfrm>
        </p:spPr>
        <p:txBody>
          <a:bodyPr>
            <a:normAutofit/>
          </a:bodyPr>
          <a:lstStyle>
            <a:lvl1pPr marL="0" indent="0">
              <a:buNone/>
              <a:defRPr sz="900">
                <a:solidFill>
                  <a:schemeClr val="accent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17" name="Footer Placeholder 5">
            <a:extLst>
              <a:ext uri="{FF2B5EF4-FFF2-40B4-BE49-F238E27FC236}">
                <a16:creationId xmlns:a16="http://schemas.microsoft.com/office/drawing/2014/main" id="{11028081-23AC-284C-B93E-8AB0B189A485}"/>
              </a:ext>
            </a:extLst>
          </p:cNvPr>
          <p:cNvSpPr>
            <a:spLocks noGrp="1"/>
          </p:cNvSpPr>
          <p:nvPr>
            <p:ph type="ftr" sz="quarter" idx="10"/>
          </p:nvPr>
        </p:nvSpPr>
        <p:spPr/>
        <p:txBody>
          <a:bodyPr/>
          <a:lstStyle>
            <a:lvl1pPr>
              <a:defRPr/>
            </a:lvl1pPr>
          </a:lstStyle>
          <a:p>
            <a:pPr>
              <a:defRPr/>
            </a:pPr>
            <a:endParaRPr lang="en-US"/>
          </a:p>
        </p:txBody>
      </p:sp>
    </p:spTree>
    <p:extLst>
      <p:ext uri="{BB962C8B-B14F-4D97-AF65-F5344CB8AC3E}">
        <p14:creationId xmlns:p14="http://schemas.microsoft.com/office/powerpoint/2010/main" val="33208483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grpSp>
        <p:nvGrpSpPr>
          <p:cNvPr id="4" name="Group 17">
            <a:extLst>
              <a:ext uri="{FF2B5EF4-FFF2-40B4-BE49-F238E27FC236}">
                <a16:creationId xmlns:a16="http://schemas.microsoft.com/office/drawing/2014/main" id="{5189EB6D-F864-0847-80A3-D55F48F5305C}"/>
              </a:ext>
            </a:extLst>
          </p:cNvPr>
          <p:cNvGrpSpPr>
            <a:grpSpLocks/>
          </p:cNvGrpSpPr>
          <p:nvPr/>
        </p:nvGrpSpPr>
        <p:grpSpPr bwMode="auto">
          <a:xfrm>
            <a:off x="0" y="-1588"/>
            <a:ext cx="12192000" cy="6865938"/>
            <a:chOff x="0" y="-2373"/>
            <a:chExt cx="12192000" cy="6867027"/>
          </a:xfrm>
        </p:grpSpPr>
        <p:sp>
          <p:nvSpPr>
            <p:cNvPr id="5" name="Rectangle 4">
              <a:extLst>
                <a:ext uri="{FF2B5EF4-FFF2-40B4-BE49-F238E27FC236}">
                  <a16:creationId xmlns:a16="http://schemas.microsoft.com/office/drawing/2014/main" id="{CFCEF08B-48C1-7E47-94C3-289CC6DF2EA6}"/>
                </a:ext>
              </a:extLst>
            </p:cNvPr>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6" name="Oval 5">
              <a:extLst>
                <a:ext uri="{FF2B5EF4-FFF2-40B4-BE49-F238E27FC236}">
                  <a16:creationId xmlns:a16="http://schemas.microsoft.com/office/drawing/2014/main" id="{EE4B9BBC-43F3-F64F-8B72-C6E3637485AC}"/>
                </a:ext>
              </a:extLst>
            </p:cNvPr>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Oval 6">
              <a:extLst>
                <a:ext uri="{FF2B5EF4-FFF2-40B4-BE49-F238E27FC236}">
                  <a16:creationId xmlns:a16="http://schemas.microsoft.com/office/drawing/2014/main" id="{249440B0-8058-EA4F-885C-016CCB9187C5}"/>
                </a:ext>
              </a:extLst>
            </p:cNvPr>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9" name="Oval 8">
              <a:extLst>
                <a:ext uri="{FF2B5EF4-FFF2-40B4-BE49-F238E27FC236}">
                  <a16:creationId xmlns:a16="http://schemas.microsoft.com/office/drawing/2014/main" id="{BA1E4553-9748-364A-9063-DB32A74935E2}"/>
                </a:ext>
              </a:extLst>
            </p:cNvPr>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0" name="Oval 9">
              <a:extLst>
                <a:ext uri="{FF2B5EF4-FFF2-40B4-BE49-F238E27FC236}">
                  <a16:creationId xmlns:a16="http://schemas.microsoft.com/office/drawing/2014/main" id="{EAB19757-A19A-024D-903C-9361D8230B7D}"/>
                </a:ext>
              </a:extLst>
            </p:cNvPr>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1" name="Oval 10">
              <a:extLst>
                <a:ext uri="{FF2B5EF4-FFF2-40B4-BE49-F238E27FC236}">
                  <a16:creationId xmlns:a16="http://schemas.microsoft.com/office/drawing/2014/main" id="{1F441125-52DD-0947-9697-DEA603D6C9E4}"/>
                </a:ext>
              </a:extLst>
            </p:cNvPr>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2" name="Freeform 5">
              <a:extLst>
                <a:ext uri="{FF2B5EF4-FFF2-40B4-BE49-F238E27FC236}">
                  <a16:creationId xmlns:a16="http://schemas.microsoft.com/office/drawing/2014/main" id="{0323B29E-5D19-824A-9290-331C9FB4D0B0}"/>
                </a:ext>
              </a:extLst>
            </p:cNvPr>
            <p:cNvSpPr>
              <a:spLocks/>
            </p:cNvSpPr>
            <p:nvPr/>
          </p:nvSpPr>
          <p:spPr bwMode="gray">
            <a:xfrm rot="-589932">
              <a:off x="8490951" y="2714874"/>
              <a:ext cx="3299407" cy="440924"/>
            </a:xfrm>
            <a:custGeom>
              <a:avLst/>
              <a:gdLst>
                <a:gd name="T0" fmla="*/ 9253187 w 10000"/>
                <a:gd name="T1" fmla="*/ 17583959 h 5291"/>
                <a:gd name="T2" fmla="*/ 1084036337 w 10000"/>
                <a:gd name="T3" fmla="*/ 36744278 h 5291"/>
                <a:gd name="T4" fmla="*/ 1088608655 w 10000"/>
                <a:gd name="T5" fmla="*/ 0 h 5291"/>
                <a:gd name="T6" fmla="*/ 1088608655 w 10000"/>
                <a:gd name="T7" fmla="*/ 0 h 5291"/>
                <a:gd name="T8" fmla="*/ 1052358070 w 10000"/>
                <a:gd name="T9" fmla="*/ 1416690 h 5291"/>
                <a:gd name="T10" fmla="*/ 1016107156 w 10000"/>
                <a:gd name="T11" fmla="*/ 2777880 h 5291"/>
                <a:gd name="T12" fmla="*/ 979856571 w 10000"/>
                <a:gd name="T13" fmla="*/ 4097318 h 5291"/>
                <a:gd name="T14" fmla="*/ 943497106 w 10000"/>
                <a:gd name="T15" fmla="*/ 5229337 h 5291"/>
                <a:gd name="T16" fmla="*/ 907137641 w 10000"/>
                <a:gd name="T17" fmla="*/ 6368273 h 5291"/>
                <a:gd name="T18" fmla="*/ 870778176 w 10000"/>
                <a:gd name="T19" fmla="*/ 7437707 h 5291"/>
                <a:gd name="T20" fmla="*/ 834853902 w 10000"/>
                <a:gd name="T21" fmla="*/ 8347472 h 5291"/>
                <a:gd name="T22" fmla="*/ 798276676 w 10000"/>
                <a:gd name="T23" fmla="*/ 9201736 h 5291"/>
                <a:gd name="T24" fmla="*/ 762026092 w 10000"/>
                <a:gd name="T25" fmla="*/ 10000333 h 5291"/>
                <a:gd name="T26" fmla="*/ 726428460 w 10000"/>
                <a:gd name="T27" fmla="*/ 10680928 h 5291"/>
                <a:gd name="T28" fmla="*/ 690177875 w 10000"/>
                <a:gd name="T29" fmla="*/ 11361522 h 5291"/>
                <a:gd name="T30" fmla="*/ 654580243 w 10000"/>
                <a:gd name="T31" fmla="*/ 11937865 h 5291"/>
                <a:gd name="T32" fmla="*/ 618982941 w 10000"/>
                <a:gd name="T33" fmla="*/ 12389289 h 5291"/>
                <a:gd name="T34" fmla="*/ 583385309 w 10000"/>
                <a:gd name="T35" fmla="*/ 12847630 h 5291"/>
                <a:gd name="T36" fmla="*/ 548223198 w 10000"/>
                <a:gd name="T37" fmla="*/ 13236553 h 5291"/>
                <a:gd name="T38" fmla="*/ 513496610 w 10000"/>
                <a:gd name="T39" fmla="*/ 13528225 h 5291"/>
                <a:gd name="T40" fmla="*/ 478552260 w 10000"/>
                <a:gd name="T41" fmla="*/ 13750479 h 5291"/>
                <a:gd name="T42" fmla="*/ 444043432 w 10000"/>
                <a:gd name="T43" fmla="*/ 13979649 h 5291"/>
                <a:gd name="T44" fmla="*/ 409970126 w 10000"/>
                <a:gd name="T45" fmla="*/ 14090734 h 5291"/>
                <a:gd name="T46" fmla="*/ 376005371 w 10000"/>
                <a:gd name="T47" fmla="*/ 14208820 h 5291"/>
                <a:gd name="T48" fmla="*/ 342367587 w 10000"/>
                <a:gd name="T49" fmla="*/ 14257404 h 5291"/>
                <a:gd name="T50" fmla="*/ 309056114 w 10000"/>
                <a:gd name="T51" fmla="*/ 14208820 h 5291"/>
                <a:gd name="T52" fmla="*/ 276180162 w 10000"/>
                <a:gd name="T53" fmla="*/ 14208820 h 5291"/>
                <a:gd name="T54" fmla="*/ 243630522 w 10000"/>
                <a:gd name="T55" fmla="*/ 14090734 h 5291"/>
                <a:gd name="T56" fmla="*/ 211516734 w 10000"/>
                <a:gd name="T57" fmla="*/ 13917148 h 5291"/>
                <a:gd name="T58" fmla="*/ 179947018 w 10000"/>
                <a:gd name="T59" fmla="*/ 13750479 h 5291"/>
                <a:gd name="T60" fmla="*/ 148921704 w 10000"/>
                <a:gd name="T61" fmla="*/ 13576809 h 5291"/>
                <a:gd name="T62" fmla="*/ 118114151 w 10000"/>
                <a:gd name="T63" fmla="*/ 13299055 h 5291"/>
                <a:gd name="T64" fmla="*/ 87741790 w 10000"/>
                <a:gd name="T65" fmla="*/ 13007383 h 5291"/>
                <a:gd name="T66" fmla="*/ 58022712 w 10000"/>
                <a:gd name="T67" fmla="*/ 12729628 h 5291"/>
                <a:gd name="T68" fmla="*/ 0 w 10000"/>
                <a:gd name="T69" fmla="*/ 11986533 h 5291"/>
                <a:gd name="T70" fmla="*/ 9253187 w 10000"/>
                <a:gd name="T71" fmla="*/ 17583959 h 529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000" h="5291">
                  <a:moveTo>
                    <a:pt x="85" y="2532"/>
                  </a:moveTo>
                  <a:cubicBezTo>
                    <a:pt x="1736" y="3911"/>
                    <a:pt x="7524" y="5298"/>
                    <a:pt x="9958" y="5291"/>
                  </a:cubicBezTo>
                  <a:cubicBezTo>
                    <a:pt x="9989" y="1958"/>
                    <a:pt x="9969" y="3333"/>
                    <a:pt x="10000" y="0"/>
                  </a:cubicBez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3" name="Freeform 5">
              <a:extLst>
                <a:ext uri="{FF2B5EF4-FFF2-40B4-BE49-F238E27FC236}">
                  <a16:creationId xmlns:a16="http://schemas.microsoft.com/office/drawing/2014/main" id="{F987C9DF-540D-D04D-AEFB-8A30402FB081}"/>
                </a:ext>
              </a:extLst>
            </p:cNvPr>
            <p:cNvSpPr>
              <a:spLocks/>
            </p:cNvSpPr>
            <p:nvPr/>
          </p:nvSpPr>
          <p:spPr bwMode="gray">
            <a:xfrm>
              <a:off x="455612" y="2801319"/>
              <a:ext cx="11277600" cy="3602637"/>
            </a:xfrm>
            <a:custGeom>
              <a:avLst/>
              <a:gdLst>
                <a:gd name="T0" fmla="*/ 0 w 10000"/>
                <a:gd name="T1" fmla="*/ 0 h 7946"/>
                <a:gd name="T2" fmla="*/ 0 w 10000"/>
                <a:gd name="T3" fmla="*/ 1633194231 h 7946"/>
                <a:gd name="T4" fmla="*/ 2147483646 w 10000"/>
                <a:gd name="T5" fmla="*/ 1633399617 h 7946"/>
                <a:gd name="T6" fmla="*/ 2147483646 w 10000"/>
                <a:gd name="T7" fmla="*/ 822449 h 7946"/>
                <a:gd name="T8" fmla="*/ 2147483646 w 10000"/>
                <a:gd name="T9" fmla="*/ 822449 h 7946"/>
                <a:gd name="T10" fmla="*/ 2147483646 w 10000"/>
                <a:gd name="T11" fmla="*/ 18705965 h 7946"/>
                <a:gd name="T12" fmla="*/ 2147483646 w 10000"/>
                <a:gd name="T13" fmla="*/ 35973323 h 7946"/>
                <a:gd name="T14" fmla="*/ 2147483646 w 10000"/>
                <a:gd name="T15" fmla="*/ 52624071 h 7946"/>
                <a:gd name="T16" fmla="*/ 2147483646 w 10000"/>
                <a:gd name="T17" fmla="*/ 67013310 h 7946"/>
                <a:gd name="T18" fmla="*/ 2147483646 w 10000"/>
                <a:gd name="T19" fmla="*/ 81402549 h 7946"/>
                <a:gd name="T20" fmla="*/ 2147483646 w 10000"/>
                <a:gd name="T21" fmla="*/ 94969791 h 7946"/>
                <a:gd name="T22" fmla="*/ 2147483646 w 10000"/>
                <a:gd name="T23" fmla="*/ 106481364 h 7946"/>
                <a:gd name="T24" fmla="*/ 2147483646 w 10000"/>
                <a:gd name="T25" fmla="*/ 117376325 h 7946"/>
                <a:gd name="T26" fmla="*/ 2147483646 w 10000"/>
                <a:gd name="T27" fmla="*/ 127448838 h 7946"/>
                <a:gd name="T28" fmla="*/ 2147483646 w 10000"/>
                <a:gd name="T29" fmla="*/ 136082290 h 7946"/>
                <a:gd name="T30" fmla="*/ 2147483646 w 10000"/>
                <a:gd name="T31" fmla="*/ 144716196 h 7946"/>
                <a:gd name="T32" fmla="*/ 2147483646 w 10000"/>
                <a:gd name="T33" fmla="*/ 151910589 h 7946"/>
                <a:gd name="T34" fmla="*/ 2147483646 w 10000"/>
                <a:gd name="T35" fmla="*/ 157666375 h 7946"/>
                <a:gd name="T36" fmla="*/ 2147483646 w 10000"/>
                <a:gd name="T37" fmla="*/ 163422161 h 7946"/>
                <a:gd name="T38" fmla="*/ 2147483646 w 10000"/>
                <a:gd name="T39" fmla="*/ 168355498 h 7946"/>
                <a:gd name="T40" fmla="*/ 2147483646 w 10000"/>
                <a:gd name="T41" fmla="*/ 172055614 h 7946"/>
                <a:gd name="T42" fmla="*/ 2147483646 w 10000"/>
                <a:gd name="T43" fmla="*/ 174933734 h 7946"/>
                <a:gd name="T44" fmla="*/ 2147483646 w 10000"/>
                <a:gd name="T45" fmla="*/ 177811400 h 7946"/>
                <a:gd name="T46" fmla="*/ 2147483646 w 10000"/>
                <a:gd name="T47" fmla="*/ 179250460 h 7946"/>
                <a:gd name="T48" fmla="*/ 2147483646 w 10000"/>
                <a:gd name="T49" fmla="*/ 180689520 h 7946"/>
                <a:gd name="T50" fmla="*/ 2147483646 w 10000"/>
                <a:gd name="T51" fmla="*/ 181306130 h 7946"/>
                <a:gd name="T52" fmla="*/ 2147483646 w 10000"/>
                <a:gd name="T53" fmla="*/ 180689520 h 7946"/>
                <a:gd name="T54" fmla="*/ 2147483646 w 10000"/>
                <a:gd name="T55" fmla="*/ 180689520 h 7946"/>
                <a:gd name="T56" fmla="*/ 2147483646 w 10000"/>
                <a:gd name="T57" fmla="*/ 179250460 h 7946"/>
                <a:gd name="T58" fmla="*/ 2147483646 w 10000"/>
                <a:gd name="T59" fmla="*/ 176989404 h 7946"/>
                <a:gd name="T60" fmla="*/ 2147483646 w 10000"/>
                <a:gd name="T61" fmla="*/ 174933734 h 7946"/>
                <a:gd name="T62" fmla="*/ 2147483646 w 10000"/>
                <a:gd name="T63" fmla="*/ 172672678 h 7946"/>
                <a:gd name="T64" fmla="*/ 2147483646 w 10000"/>
                <a:gd name="T65" fmla="*/ 169177947 h 7946"/>
                <a:gd name="T66" fmla="*/ 2147483646 w 10000"/>
                <a:gd name="T67" fmla="*/ 165477832 h 7946"/>
                <a:gd name="T68" fmla="*/ 2147483646 w 10000"/>
                <a:gd name="T69" fmla="*/ 161983101 h 7946"/>
                <a:gd name="T70" fmla="*/ 2147483646 w 10000"/>
                <a:gd name="T71" fmla="*/ 152527199 h 7946"/>
                <a:gd name="T72" fmla="*/ 2147483646 w 10000"/>
                <a:gd name="T73" fmla="*/ 142454687 h 7946"/>
                <a:gd name="T74" fmla="*/ 2147483646 w 10000"/>
                <a:gd name="T75" fmla="*/ 131765564 h 7946"/>
                <a:gd name="T76" fmla="*/ 2147483646 w 10000"/>
                <a:gd name="T77" fmla="*/ 120253992 h 7946"/>
                <a:gd name="T78" fmla="*/ 2147483646 w 10000"/>
                <a:gd name="T79" fmla="*/ 107920423 h 7946"/>
                <a:gd name="T80" fmla="*/ 2047667065 w 10000"/>
                <a:gd name="T81" fmla="*/ 94969791 h 7946"/>
                <a:gd name="T82" fmla="*/ 1713172322 w 10000"/>
                <a:gd name="T83" fmla="*/ 82019613 h 7946"/>
                <a:gd name="T84" fmla="*/ 1405386318 w 10000"/>
                <a:gd name="T85" fmla="*/ 69068980 h 7946"/>
                <a:gd name="T86" fmla="*/ 1123036941 w 10000"/>
                <a:gd name="T87" fmla="*/ 56940798 h 7946"/>
                <a:gd name="T88" fmla="*/ 872483630 w 10000"/>
                <a:gd name="T89" fmla="*/ 45429225 h 7946"/>
                <a:gd name="T90" fmla="*/ 646095960 w 10000"/>
                <a:gd name="T91" fmla="*/ 34534717 h 7946"/>
                <a:gd name="T92" fmla="*/ 455319567 w 10000"/>
                <a:gd name="T93" fmla="*/ 25284201 h 7946"/>
                <a:gd name="T94" fmla="*/ 295067126 w 10000"/>
                <a:gd name="T95" fmla="*/ 16650748 h 7946"/>
                <a:gd name="T96" fmla="*/ 75038895 w 10000"/>
                <a:gd name="T97" fmla="*/ 4316726 h 7946"/>
                <a:gd name="T98" fmla="*/ 0 w 10000"/>
                <a:gd name="T99" fmla="*/ 0 h 7946"/>
                <a:gd name="T100" fmla="*/ 0 w 10000"/>
                <a:gd name="T101" fmla="*/ 0 h 794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000" h="7946">
                  <a:moveTo>
                    <a:pt x="0" y="0"/>
                  </a:moveTo>
                  <a:lnTo>
                    <a:pt x="0" y="7945"/>
                  </a:lnTo>
                  <a:lnTo>
                    <a:pt x="10000" y="7946"/>
                  </a:lnTo>
                  <a:lnTo>
                    <a:pt x="10000" y="4"/>
                  </a:lnTo>
                  <a:lnTo>
                    <a:pt x="9773" y="91"/>
                  </a:lnTo>
                  <a:lnTo>
                    <a:pt x="9547" y="175"/>
                  </a:lnTo>
                  <a:lnTo>
                    <a:pt x="9320" y="256"/>
                  </a:lnTo>
                  <a:lnTo>
                    <a:pt x="9092" y="326"/>
                  </a:lnTo>
                  <a:lnTo>
                    <a:pt x="8865" y="396"/>
                  </a:lnTo>
                  <a:lnTo>
                    <a:pt x="8637" y="462"/>
                  </a:lnTo>
                  <a:lnTo>
                    <a:pt x="8412" y="518"/>
                  </a:lnTo>
                  <a:lnTo>
                    <a:pt x="8184" y="571"/>
                  </a:lnTo>
                  <a:lnTo>
                    <a:pt x="7957" y="620"/>
                  </a:lnTo>
                  <a:lnTo>
                    <a:pt x="7734" y="662"/>
                  </a:lnTo>
                  <a:lnTo>
                    <a:pt x="7508" y="704"/>
                  </a:lnTo>
                  <a:lnTo>
                    <a:pt x="7285" y="739"/>
                  </a:lnTo>
                  <a:lnTo>
                    <a:pt x="7062" y="767"/>
                  </a:lnTo>
                  <a:lnTo>
                    <a:pt x="6840" y="795"/>
                  </a:lnTo>
                  <a:lnTo>
                    <a:pt x="6620" y="819"/>
                  </a:lnTo>
                  <a:lnTo>
                    <a:pt x="6402" y="837"/>
                  </a:lnTo>
                  <a:lnTo>
                    <a:pt x="6184" y="851"/>
                  </a:lnTo>
                  <a:lnTo>
                    <a:pt x="5968" y="865"/>
                  </a:lnTo>
                  <a:lnTo>
                    <a:pt x="5755" y="872"/>
                  </a:lnTo>
                  <a:lnTo>
                    <a:pt x="5542" y="879"/>
                  </a:lnTo>
                  <a:lnTo>
                    <a:pt x="5332" y="882"/>
                  </a:lnTo>
                  <a:lnTo>
                    <a:pt x="5124" y="879"/>
                  </a:lnTo>
                  <a:lnTo>
                    <a:pt x="4918" y="879"/>
                  </a:lnTo>
                  <a:lnTo>
                    <a:pt x="4714" y="872"/>
                  </a:lnTo>
                  <a:lnTo>
                    <a:pt x="4514" y="861"/>
                  </a:lnTo>
                  <a:lnTo>
                    <a:pt x="4316" y="851"/>
                  </a:lnTo>
                  <a:lnTo>
                    <a:pt x="4122" y="840"/>
                  </a:lnTo>
                  <a:lnTo>
                    <a:pt x="3929" y="823"/>
                  </a:lnTo>
                  <a:lnTo>
                    <a:pt x="3739" y="805"/>
                  </a:lnTo>
                  <a:lnTo>
                    <a:pt x="3553" y="788"/>
                  </a:lnTo>
                  <a:lnTo>
                    <a:pt x="3190" y="742"/>
                  </a:lnTo>
                  <a:lnTo>
                    <a:pt x="2842" y="693"/>
                  </a:lnTo>
                  <a:lnTo>
                    <a:pt x="2508" y="641"/>
                  </a:lnTo>
                  <a:lnTo>
                    <a:pt x="2192" y="585"/>
                  </a:lnTo>
                  <a:lnTo>
                    <a:pt x="1890" y="525"/>
                  </a:lnTo>
                  <a:lnTo>
                    <a:pt x="1610" y="462"/>
                  </a:lnTo>
                  <a:lnTo>
                    <a:pt x="1347" y="399"/>
                  </a:lnTo>
                  <a:lnTo>
                    <a:pt x="1105" y="336"/>
                  </a:lnTo>
                  <a:lnTo>
                    <a:pt x="883" y="277"/>
                  </a:lnTo>
                  <a:lnTo>
                    <a:pt x="686" y="221"/>
                  </a:lnTo>
                  <a:lnTo>
                    <a:pt x="508" y="168"/>
                  </a:lnTo>
                  <a:lnTo>
                    <a:pt x="358" y="123"/>
                  </a:lnTo>
                  <a:lnTo>
                    <a:pt x="232" y="81"/>
                  </a:lnTo>
                  <a:lnTo>
                    <a:pt x="59" y="21"/>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4" name="Freeform 5">
              <a:extLst>
                <a:ext uri="{FF2B5EF4-FFF2-40B4-BE49-F238E27FC236}">
                  <a16:creationId xmlns:a16="http://schemas.microsoft.com/office/drawing/2014/main" id="{9FEEA6A7-7CF0-0F4A-A427-2F9AD3356B72}"/>
                </a:ext>
              </a:extLst>
            </p:cNvPr>
            <p:cNvSpPr>
              <a:spLocks noEditPoints="1"/>
            </p:cNvSpPr>
            <p:nvPr/>
          </p:nvSpPr>
          <p:spPr bwMode="gray">
            <a:xfrm>
              <a:off x="0" y="1587"/>
              <a:ext cx="12192000" cy="6856413"/>
            </a:xfrm>
            <a:custGeom>
              <a:avLst/>
              <a:gdLst>
                <a:gd name="T0" fmla="*/ 0 w 15356"/>
                <a:gd name="T1" fmla="*/ 0 h 8638"/>
                <a:gd name="T2" fmla="*/ 0 w 15356"/>
                <a:gd name="T3" fmla="*/ 2147483646 h 8638"/>
                <a:gd name="T4" fmla="*/ 2147483646 w 15356"/>
                <a:gd name="T5" fmla="*/ 2147483646 h 8638"/>
                <a:gd name="T6" fmla="*/ 2147483646 w 15356"/>
                <a:gd name="T7" fmla="*/ 0 h 8638"/>
                <a:gd name="T8" fmla="*/ 0 w 15356"/>
                <a:gd name="T9" fmla="*/ 0 h 8638"/>
                <a:gd name="T10" fmla="*/ 2147483646 w 15356"/>
                <a:gd name="T11" fmla="*/ 2147483646 h 8638"/>
                <a:gd name="T12" fmla="*/ 378220357 w 15356"/>
                <a:gd name="T13" fmla="*/ 2147483646 h 8638"/>
                <a:gd name="T14" fmla="*/ 378220357 w 15356"/>
                <a:gd name="T15" fmla="*/ 372983152 h 8638"/>
                <a:gd name="T16" fmla="*/ 2147483646 w 15356"/>
                <a:gd name="T17" fmla="*/ 372983152 h 8638"/>
                <a:gd name="T18" fmla="*/ 2147483646 w 15356"/>
                <a:gd name="T19" fmla="*/ 2147483646 h 86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5" name="Rectangle 14">
            <a:extLst>
              <a:ext uri="{FF2B5EF4-FFF2-40B4-BE49-F238E27FC236}">
                <a16:creationId xmlns:a16="http://schemas.microsoft.com/office/drawing/2014/main" id="{2FB7EBC3-4AA8-BC43-ABE1-23A1EEB9A6DE}"/>
              </a:ext>
            </a:extLst>
          </p:cNvPr>
          <p:cNvSpPr/>
          <p:nvPr/>
        </p:nvSpPr>
        <p:spPr>
          <a:xfrm>
            <a:off x="10437813"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pic>
        <p:nvPicPr>
          <p:cNvPr id="16" name="Picture 34">
            <a:extLst>
              <a:ext uri="{FF2B5EF4-FFF2-40B4-BE49-F238E27FC236}">
                <a16:creationId xmlns:a16="http://schemas.microsoft.com/office/drawing/2014/main" id="{93E1DFF0-2C41-C64A-AFA2-CCAB28BA039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947277" y="5864227"/>
            <a:ext cx="2009775"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154955" y="1063416"/>
            <a:ext cx="8825659" cy="1379755"/>
          </a:xfrm>
        </p:spPr>
        <p:txBody>
          <a:bodyPr/>
          <a:lstStyle>
            <a:lvl1pPr>
              <a:defRPr sz="3000"/>
            </a:lvl1pPr>
          </a:lstStyle>
          <a:p>
            <a:r>
              <a:rPr lang="en-US"/>
              <a:t>Click to edit Master title style</a:t>
            </a:r>
            <a:endParaRPr lang="en-US" dirty="0"/>
          </a:p>
        </p:txBody>
      </p:sp>
      <p:sp>
        <p:nvSpPr>
          <p:cNvPr id="8" name="Text Placeholder 3"/>
          <p:cNvSpPr>
            <a:spLocks noGrp="1"/>
          </p:cNvSpPr>
          <p:nvPr>
            <p:ph type="body" sz="half" idx="2"/>
          </p:nvPr>
        </p:nvSpPr>
        <p:spPr>
          <a:xfrm>
            <a:off x="1154955" y="3349337"/>
            <a:ext cx="8825659" cy="2476500"/>
          </a:xfrm>
        </p:spPr>
        <p:txBody>
          <a:bodyPr anchor="ctr">
            <a:normAutofit/>
          </a:bodyPr>
          <a:lstStyle>
            <a:lvl1pPr marL="0" indent="0">
              <a:buNone/>
              <a:defRPr sz="13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17" name="Footer Placeholder 4">
            <a:extLst>
              <a:ext uri="{FF2B5EF4-FFF2-40B4-BE49-F238E27FC236}">
                <a16:creationId xmlns:a16="http://schemas.microsoft.com/office/drawing/2014/main" id="{4A9A7045-083D-904C-8799-E41777CE1246}"/>
              </a:ext>
            </a:extLst>
          </p:cNvPr>
          <p:cNvSpPr>
            <a:spLocks noGrp="1"/>
          </p:cNvSpPr>
          <p:nvPr>
            <p:ph type="ftr" sz="quarter" idx="10"/>
          </p:nvPr>
        </p:nvSpPr>
        <p:spPr/>
        <p:txBody>
          <a:bodyPr/>
          <a:lstStyle>
            <a:lvl1pPr>
              <a:defRPr/>
            </a:lvl1pPr>
          </a:lstStyle>
          <a:p>
            <a:pPr>
              <a:defRPr/>
            </a:pPr>
            <a:endParaRPr lang="en-US"/>
          </a:p>
        </p:txBody>
      </p:sp>
    </p:spTree>
    <p:extLst>
      <p:ext uri="{BB962C8B-B14F-4D97-AF65-F5344CB8AC3E}">
        <p14:creationId xmlns:p14="http://schemas.microsoft.com/office/powerpoint/2010/main" val="427251675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grpSp>
        <p:nvGrpSpPr>
          <p:cNvPr id="5" name="Group 17">
            <a:extLst>
              <a:ext uri="{FF2B5EF4-FFF2-40B4-BE49-F238E27FC236}">
                <a16:creationId xmlns:a16="http://schemas.microsoft.com/office/drawing/2014/main" id="{E322B0F2-23EA-3047-975B-F81DEB92401D}"/>
              </a:ext>
            </a:extLst>
          </p:cNvPr>
          <p:cNvGrpSpPr>
            <a:grpSpLocks/>
          </p:cNvGrpSpPr>
          <p:nvPr/>
        </p:nvGrpSpPr>
        <p:grpSpPr bwMode="auto">
          <a:xfrm>
            <a:off x="0" y="-1588"/>
            <a:ext cx="12192000" cy="6865938"/>
            <a:chOff x="0" y="-2373"/>
            <a:chExt cx="12192000" cy="6867027"/>
          </a:xfrm>
        </p:grpSpPr>
        <p:sp>
          <p:nvSpPr>
            <p:cNvPr id="6" name="Rectangle 5">
              <a:extLst>
                <a:ext uri="{FF2B5EF4-FFF2-40B4-BE49-F238E27FC236}">
                  <a16:creationId xmlns:a16="http://schemas.microsoft.com/office/drawing/2014/main" id="{69FB7D79-6852-F941-8B6E-F9B80FCEA1DC}"/>
                </a:ext>
              </a:extLst>
            </p:cNvPr>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7" name="Oval 6">
              <a:extLst>
                <a:ext uri="{FF2B5EF4-FFF2-40B4-BE49-F238E27FC236}">
                  <a16:creationId xmlns:a16="http://schemas.microsoft.com/office/drawing/2014/main" id="{26C99755-0748-0B44-9C64-CC6A8A3CF0DF}"/>
                </a:ext>
              </a:extLst>
            </p:cNvPr>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Oval 7">
              <a:extLst>
                <a:ext uri="{FF2B5EF4-FFF2-40B4-BE49-F238E27FC236}">
                  <a16:creationId xmlns:a16="http://schemas.microsoft.com/office/drawing/2014/main" id="{E7F33509-9B4F-374E-83F6-E48360A5BA67}"/>
                </a:ext>
              </a:extLst>
            </p:cNvPr>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9" name="Oval 8">
              <a:extLst>
                <a:ext uri="{FF2B5EF4-FFF2-40B4-BE49-F238E27FC236}">
                  <a16:creationId xmlns:a16="http://schemas.microsoft.com/office/drawing/2014/main" id="{0DEF4B2C-2F4B-404B-BA8E-3106AD24FD19}"/>
                </a:ext>
              </a:extLst>
            </p:cNvPr>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1" name="Oval 10">
              <a:extLst>
                <a:ext uri="{FF2B5EF4-FFF2-40B4-BE49-F238E27FC236}">
                  <a16:creationId xmlns:a16="http://schemas.microsoft.com/office/drawing/2014/main" id="{F641E5BC-768E-B542-81A6-71AB294CDCC9}"/>
                </a:ext>
              </a:extLst>
            </p:cNvPr>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2" name="Oval 11">
              <a:extLst>
                <a:ext uri="{FF2B5EF4-FFF2-40B4-BE49-F238E27FC236}">
                  <a16:creationId xmlns:a16="http://schemas.microsoft.com/office/drawing/2014/main" id="{F1258CB4-7F81-604D-92B0-D4CDEE59C445}"/>
                </a:ext>
              </a:extLst>
            </p:cNvPr>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3" name="Freeform 5">
              <a:extLst>
                <a:ext uri="{FF2B5EF4-FFF2-40B4-BE49-F238E27FC236}">
                  <a16:creationId xmlns:a16="http://schemas.microsoft.com/office/drawing/2014/main" id="{4E871D90-AF7A-B040-8604-A8440CDB407A}"/>
                </a:ext>
              </a:extLst>
            </p:cNvPr>
            <p:cNvSpPr>
              <a:spLocks/>
            </p:cNvSpPr>
            <p:nvPr/>
          </p:nvSpPr>
          <p:spPr bwMode="gray">
            <a:xfrm rot="-589932">
              <a:off x="8490951" y="4185117"/>
              <a:ext cx="3299407" cy="440924"/>
            </a:xfrm>
            <a:custGeom>
              <a:avLst/>
              <a:gdLst>
                <a:gd name="T0" fmla="*/ 9253187 w 10000"/>
                <a:gd name="T1" fmla="*/ 17583959 h 5291"/>
                <a:gd name="T2" fmla="*/ 1084036337 w 10000"/>
                <a:gd name="T3" fmla="*/ 36744278 h 5291"/>
                <a:gd name="T4" fmla="*/ 1088608655 w 10000"/>
                <a:gd name="T5" fmla="*/ 0 h 5291"/>
                <a:gd name="T6" fmla="*/ 1088608655 w 10000"/>
                <a:gd name="T7" fmla="*/ 0 h 5291"/>
                <a:gd name="T8" fmla="*/ 1052358070 w 10000"/>
                <a:gd name="T9" fmla="*/ 1416690 h 5291"/>
                <a:gd name="T10" fmla="*/ 1016107156 w 10000"/>
                <a:gd name="T11" fmla="*/ 2777880 h 5291"/>
                <a:gd name="T12" fmla="*/ 979856571 w 10000"/>
                <a:gd name="T13" fmla="*/ 4097318 h 5291"/>
                <a:gd name="T14" fmla="*/ 943497106 w 10000"/>
                <a:gd name="T15" fmla="*/ 5229337 h 5291"/>
                <a:gd name="T16" fmla="*/ 907137641 w 10000"/>
                <a:gd name="T17" fmla="*/ 6368273 h 5291"/>
                <a:gd name="T18" fmla="*/ 870778176 w 10000"/>
                <a:gd name="T19" fmla="*/ 7437707 h 5291"/>
                <a:gd name="T20" fmla="*/ 834853902 w 10000"/>
                <a:gd name="T21" fmla="*/ 8347472 h 5291"/>
                <a:gd name="T22" fmla="*/ 798276676 w 10000"/>
                <a:gd name="T23" fmla="*/ 9201736 h 5291"/>
                <a:gd name="T24" fmla="*/ 762026092 w 10000"/>
                <a:gd name="T25" fmla="*/ 10000333 h 5291"/>
                <a:gd name="T26" fmla="*/ 726428460 w 10000"/>
                <a:gd name="T27" fmla="*/ 10680928 h 5291"/>
                <a:gd name="T28" fmla="*/ 690177875 w 10000"/>
                <a:gd name="T29" fmla="*/ 11361522 h 5291"/>
                <a:gd name="T30" fmla="*/ 654580243 w 10000"/>
                <a:gd name="T31" fmla="*/ 11937865 h 5291"/>
                <a:gd name="T32" fmla="*/ 618982941 w 10000"/>
                <a:gd name="T33" fmla="*/ 12389289 h 5291"/>
                <a:gd name="T34" fmla="*/ 583385309 w 10000"/>
                <a:gd name="T35" fmla="*/ 12847630 h 5291"/>
                <a:gd name="T36" fmla="*/ 548223198 w 10000"/>
                <a:gd name="T37" fmla="*/ 13236553 h 5291"/>
                <a:gd name="T38" fmla="*/ 513496610 w 10000"/>
                <a:gd name="T39" fmla="*/ 13528225 h 5291"/>
                <a:gd name="T40" fmla="*/ 478552260 w 10000"/>
                <a:gd name="T41" fmla="*/ 13750479 h 5291"/>
                <a:gd name="T42" fmla="*/ 444043432 w 10000"/>
                <a:gd name="T43" fmla="*/ 13979649 h 5291"/>
                <a:gd name="T44" fmla="*/ 409970126 w 10000"/>
                <a:gd name="T45" fmla="*/ 14090734 h 5291"/>
                <a:gd name="T46" fmla="*/ 376005371 w 10000"/>
                <a:gd name="T47" fmla="*/ 14208820 h 5291"/>
                <a:gd name="T48" fmla="*/ 342367587 w 10000"/>
                <a:gd name="T49" fmla="*/ 14257404 h 5291"/>
                <a:gd name="T50" fmla="*/ 309056114 w 10000"/>
                <a:gd name="T51" fmla="*/ 14208820 h 5291"/>
                <a:gd name="T52" fmla="*/ 276180162 w 10000"/>
                <a:gd name="T53" fmla="*/ 14208820 h 5291"/>
                <a:gd name="T54" fmla="*/ 243630522 w 10000"/>
                <a:gd name="T55" fmla="*/ 14090734 h 5291"/>
                <a:gd name="T56" fmla="*/ 211516734 w 10000"/>
                <a:gd name="T57" fmla="*/ 13917148 h 5291"/>
                <a:gd name="T58" fmla="*/ 179947018 w 10000"/>
                <a:gd name="T59" fmla="*/ 13750479 h 5291"/>
                <a:gd name="T60" fmla="*/ 148921704 w 10000"/>
                <a:gd name="T61" fmla="*/ 13576809 h 5291"/>
                <a:gd name="T62" fmla="*/ 118114151 w 10000"/>
                <a:gd name="T63" fmla="*/ 13299055 h 5291"/>
                <a:gd name="T64" fmla="*/ 87741790 w 10000"/>
                <a:gd name="T65" fmla="*/ 13007383 h 5291"/>
                <a:gd name="T66" fmla="*/ 58022712 w 10000"/>
                <a:gd name="T67" fmla="*/ 12729628 h 5291"/>
                <a:gd name="T68" fmla="*/ 0 w 10000"/>
                <a:gd name="T69" fmla="*/ 11986533 h 5291"/>
                <a:gd name="T70" fmla="*/ 9253187 w 10000"/>
                <a:gd name="T71" fmla="*/ 17583959 h 529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000" h="5291">
                  <a:moveTo>
                    <a:pt x="85" y="2532"/>
                  </a:moveTo>
                  <a:cubicBezTo>
                    <a:pt x="1736" y="3911"/>
                    <a:pt x="7524" y="5298"/>
                    <a:pt x="9958" y="5291"/>
                  </a:cubicBezTo>
                  <a:cubicBezTo>
                    <a:pt x="9989" y="1958"/>
                    <a:pt x="9969" y="3333"/>
                    <a:pt x="10000" y="0"/>
                  </a:cubicBez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5" name="Freeform 5">
              <a:extLst>
                <a:ext uri="{FF2B5EF4-FFF2-40B4-BE49-F238E27FC236}">
                  <a16:creationId xmlns:a16="http://schemas.microsoft.com/office/drawing/2014/main" id="{2902DDC8-FA33-F949-A18A-FE82ABCAB4D6}"/>
                </a:ext>
              </a:extLst>
            </p:cNvPr>
            <p:cNvSpPr>
              <a:spLocks/>
            </p:cNvSpPr>
            <p:nvPr/>
          </p:nvSpPr>
          <p:spPr bwMode="gray">
            <a:xfrm>
              <a:off x="455612" y="4241801"/>
              <a:ext cx="11277600" cy="2337161"/>
            </a:xfrm>
            <a:custGeom>
              <a:avLst/>
              <a:gdLst>
                <a:gd name="T0" fmla="*/ 0 w 10000"/>
                <a:gd name="T1" fmla="*/ 0 h 8000"/>
                <a:gd name="T2" fmla="*/ 0 w 10000"/>
                <a:gd name="T3" fmla="*/ 680229833 h 8000"/>
                <a:gd name="T4" fmla="*/ 2147483646 w 10000"/>
                <a:gd name="T5" fmla="*/ 682790192 h 8000"/>
                <a:gd name="T6" fmla="*/ 2147483646 w 10000"/>
                <a:gd name="T7" fmla="*/ 597437 h 8000"/>
                <a:gd name="T8" fmla="*/ 2147483646 w 10000"/>
                <a:gd name="T9" fmla="*/ 597437 h 8000"/>
                <a:gd name="T10" fmla="*/ 2147483646 w 10000"/>
                <a:gd name="T11" fmla="*/ 13314514 h 8000"/>
                <a:gd name="T12" fmla="*/ 2147483646 w 10000"/>
                <a:gd name="T13" fmla="*/ 25433862 h 8000"/>
                <a:gd name="T14" fmla="*/ 2147483646 w 10000"/>
                <a:gd name="T15" fmla="*/ 37297292 h 8000"/>
                <a:gd name="T16" fmla="*/ 2147483646 w 10000"/>
                <a:gd name="T17" fmla="*/ 47454009 h 8000"/>
                <a:gd name="T18" fmla="*/ 2147483646 w 10000"/>
                <a:gd name="T19" fmla="*/ 57695741 h 8000"/>
                <a:gd name="T20" fmla="*/ 2147483646 w 10000"/>
                <a:gd name="T21" fmla="*/ 67254729 h 8000"/>
                <a:gd name="T22" fmla="*/ 2147483646 w 10000"/>
                <a:gd name="T23" fmla="*/ 75448231 h 8000"/>
                <a:gd name="T24" fmla="*/ 2147483646 w 10000"/>
                <a:gd name="T25" fmla="*/ 83214910 h 8000"/>
                <a:gd name="T26" fmla="*/ 2147483646 w 10000"/>
                <a:gd name="T27" fmla="*/ 90299137 h 8000"/>
                <a:gd name="T28" fmla="*/ 2147483646 w 10000"/>
                <a:gd name="T29" fmla="*/ 96444117 h 8000"/>
                <a:gd name="T30" fmla="*/ 2147483646 w 10000"/>
                <a:gd name="T31" fmla="*/ 102589098 h 8000"/>
                <a:gd name="T32" fmla="*/ 2147483646 w 10000"/>
                <a:gd name="T33" fmla="*/ 107710110 h 8000"/>
                <a:gd name="T34" fmla="*/ 2147483646 w 10000"/>
                <a:gd name="T35" fmla="*/ 111721554 h 8000"/>
                <a:gd name="T36" fmla="*/ 2147483646 w 10000"/>
                <a:gd name="T37" fmla="*/ 115903612 h 8000"/>
                <a:gd name="T38" fmla="*/ 2147483646 w 10000"/>
                <a:gd name="T39" fmla="*/ 119402926 h 8000"/>
                <a:gd name="T40" fmla="*/ 2147483646 w 10000"/>
                <a:gd name="T41" fmla="*/ 121877980 h 8000"/>
                <a:gd name="T42" fmla="*/ 2147483646 w 10000"/>
                <a:gd name="T43" fmla="*/ 124011808 h 8000"/>
                <a:gd name="T44" fmla="*/ 2147483646 w 10000"/>
                <a:gd name="T45" fmla="*/ 126060037 h 8000"/>
                <a:gd name="T46" fmla="*/ 2147483646 w 10000"/>
                <a:gd name="T47" fmla="*/ 126998992 h 8000"/>
                <a:gd name="T48" fmla="*/ 2147483646 w 10000"/>
                <a:gd name="T49" fmla="*/ 128023252 h 8000"/>
                <a:gd name="T50" fmla="*/ 2147483646 w 10000"/>
                <a:gd name="T51" fmla="*/ 128535383 h 8000"/>
                <a:gd name="T52" fmla="*/ 2147483646 w 10000"/>
                <a:gd name="T53" fmla="*/ 128023252 h 8000"/>
                <a:gd name="T54" fmla="*/ 2147483646 w 10000"/>
                <a:gd name="T55" fmla="*/ 128023252 h 8000"/>
                <a:gd name="T56" fmla="*/ 2147483646 w 10000"/>
                <a:gd name="T57" fmla="*/ 126998992 h 8000"/>
                <a:gd name="T58" fmla="*/ 2147483646 w 10000"/>
                <a:gd name="T59" fmla="*/ 125462600 h 8000"/>
                <a:gd name="T60" fmla="*/ 2147483646 w 10000"/>
                <a:gd name="T61" fmla="*/ 124011808 h 8000"/>
                <a:gd name="T62" fmla="*/ 2147483646 w 10000"/>
                <a:gd name="T63" fmla="*/ 122390110 h 8000"/>
                <a:gd name="T64" fmla="*/ 2147483646 w 10000"/>
                <a:gd name="T65" fmla="*/ 119915057 h 8000"/>
                <a:gd name="T66" fmla="*/ 2147483646 w 10000"/>
                <a:gd name="T67" fmla="*/ 117269098 h 8000"/>
                <a:gd name="T68" fmla="*/ 2147483646 w 10000"/>
                <a:gd name="T69" fmla="*/ 114879351 h 8000"/>
                <a:gd name="T70" fmla="*/ 2147483646 w 10000"/>
                <a:gd name="T71" fmla="*/ 108136934 h 8000"/>
                <a:gd name="T72" fmla="*/ 2147483646 w 10000"/>
                <a:gd name="T73" fmla="*/ 100967692 h 8000"/>
                <a:gd name="T74" fmla="*/ 2147483646 w 10000"/>
                <a:gd name="T75" fmla="*/ 93456933 h 8000"/>
                <a:gd name="T76" fmla="*/ 2147483646 w 10000"/>
                <a:gd name="T77" fmla="*/ 85178125 h 8000"/>
                <a:gd name="T78" fmla="*/ 2147483646 w 10000"/>
                <a:gd name="T79" fmla="*/ 76557799 h 8000"/>
                <a:gd name="T80" fmla="*/ 2047667065 w 10000"/>
                <a:gd name="T81" fmla="*/ 67254729 h 8000"/>
                <a:gd name="T82" fmla="*/ 1713172322 w 10000"/>
                <a:gd name="T83" fmla="*/ 58122565 h 8000"/>
                <a:gd name="T84" fmla="*/ 1405386318 w 10000"/>
                <a:gd name="T85" fmla="*/ 48990108 h 8000"/>
                <a:gd name="T86" fmla="*/ 1123036941 w 10000"/>
                <a:gd name="T87" fmla="*/ 40370074 h 8000"/>
                <a:gd name="T88" fmla="*/ 872483630 w 10000"/>
                <a:gd name="T89" fmla="*/ 32176572 h 8000"/>
                <a:gd name="T90" fmla="*/ 646095960 w 10000"/>
                <a:gd name="T91" fmla="*/ 24409894 h 8000"/>
                <a:gd name="T92" fmla="*/ 455319567 w 10000"/>
                <a:gd name="T93" fmla="*/ 17923103 h 8000"/>
                <a:gd name="T94" fmla="*/ 295067126 w 10000"/>
                <a:gd name="T95" fmla="*/ 11778123 h 8000"/>
                <a:gd name="T96" fmla="*/ 75038895 w 10000"/>
                <a:gd name="T97" fmla="*/ 2987184 h 8000"/>
                <a:gd name="T98" fmla="*/ 0 w 10000"/>
                <a:gd name="T99" fmla="*/ 0 h 8000"/>
                <a:gd name="T100" fmla="*/ 0 w 10000"/>
                <a:gd name="T101" fmla="*/ 0 h 80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000" h="8000">
                  <a:moveTo>
                    <a:pt x="0" y="0"/>
                  </a:moveTo>
                  <a:lnTo>
                    <a:pt x="0" y="7970"/>
                  </a:lnTo>
                  <a:lnTo>
                    <a:pt x="10000" y="8000"/>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6" name="Freeform 5">
              <a:extLst>
                <a:ext uri="{FF2B5EF4-FFF2-40B4-BE49-F238E27FC236}">
                  <a16:creationId xmlns:a16="http://schemas.microsoft.com/office/drawing/2014/main" id="{3C54F0A3-5C41-6F47-8DC3-0187404D46A8}"/>
                </a:ext>
              </a:extLst>
            </p:cNvPr>
            <p:cNvSpPr>
              <a:spLocks noEditPoints="1"/>
            </p:cNvSpPr>
            <p:nvPr/>
          </p:nvSpPr>
          <p:spPr bwMode="gray">
            <a:xfrm>
              <a:off x="0" y="1587"/>
              <a:ext cx="12192000" cy="6856413"/>
            </a:xfrm>
            <a:custGeom>
              <a:avLst/>
              <a:gdLst>
                <a:gd name="T0" fmla="*/ 0 w 15356"/>
                <a:gd name="T1" fmla="*/ 0 h 8638"/>
                <a:gd name="T2" fmla="*/ 0 w 15356"/>
                <a:gd name="T3" fmla="*/ 2147483646 h 8638"/>
                <a:gd name="T4" fmla="*/ 2147483646 w 15356"/>
                <a:gd name="T5" fmla="*/ 2147483646 h 8638"/>
                <a:gd name="T6" fmla="*/ 2147483646 w 15356"/>
                <a:gd name="T7" fmla="*/ 0 h 8638"/>
                <a:gd name="T8" fmla="*/ 0 w 15356"/>
                <a:gd name="T9" fmla="*/ 0 h 8638"/>
                <a:gd name="T10" fmla="*/ 2147483646 w 15356"/>
                <a:gd name="T11" fmla="*/ 2147483646 h 8638"/>
                <a:gd name="T12" fmla="*/ 378220357 w 15356"/>
                <a:gd name="T13" fmla="*/ 2147483646 h 8638"/>
                <a:gd name="T14" fmla="*/ 378220357 w 15356"/>
                <a:gd name="T15" fmla="*/ 372983152 h 8638"/>
                <a:gd name="T16" fmla="*/ 2147483646 w 15356"/>
                <a:gd name="T17" fmla="*/ 372983152 h 8638"/>
                <a:gd name="T18" fmla="*/ 2147483646 w 15356"/>
                <a:gd name="T19" fmla="*/ 2147483646 h 86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7" name="TextBox 16">
            <a:extLst>
              <a:ext uri="{FF2B5EF4-FFF2-40B4-BE49-F238E27FC236}">
                <a16:creationId xmlns:a16="http://schemas.microsoft.com/office/drawing/2014/main" id="{A49B5355-BCB2-5E44-BE27-7FB49FF100FA}"/>
              </a:ext>
            </a:extLst>
          </p:cNvPr>
          <p:cNvSpPr txBox="1"/>
          <p:nvPr/>
        </p:nvSpPr>
        <p:spPr>
          <a:xfrm>
            <a:off x="9718676" y="2632077"/>
            <a:ext cx="803275" cy="1200329"/>
          </a:xfrm>
          <a:prstGeom prst="rect">
            <a:avLst/>
          </a:prstGeom>
          <a:noFill/>
        </p:spPr>
        <p:txBody>
          <a:bodyPr>
            <a:spAutoFit/>
          </a:bodyPr>
          <a:lstStyle>
            <a:defPPr>
              <a:defRPr lang="en-US"/>
            </a:defPPr>
            <a:lvl1pPr algn="r">
              <a:defRPr sz="12200" b="0" i="0">
                <a:solidFill>
                  <a:schemeClr val="accent1"/>
                </a:solidFill>
                <a:latin typeface="Arial"/>
                <a:cs typeface="Arial"/>
              </a:defRPr>
            </a:lvl1pPr>
          </a:lstStyle>
          <a:p>
            <a:pPr>
              <a:defRPr/>
            </a:pPr>
            <a:r>
              <a:rPr lang="en-US" sz="7200" dirty="0"/>
              <a:t>”</a:t>
            </a:r>
          </a:p>
        </p:txBody>
      </p:sp>
      <p:sp>
        <p:nvSpPr>
          <p:cNvPr id="18" name="TextBox 17">
            <a:extLst>
              <a:ext uri="{FF2B5EF4-FFF2-40B4-BE49-F238E27FC236}">
                <a16:creationId xmlns:a16="http://schemas.microsoft.com/office/drawing/2014/main" id="{4929C170-BF8B-9C47-B261-7B84FF630E5A}"/>
              </a:ext>
            </a:extLst>
          </p:cNvPr>
          <p:cNvSpPr txBox="1"/>
          <p:nvPr/>
        </p:nvSpPr>
        <p:spPr>
          <a:xfrm>
            <a:off x="898525" y="590552"/>
            <a:ext cx="801688" cy="1200329"/>
          </a:xfrm>
          <a:prstGeom prst="rect">
            <a:avLst/>
          </a:prstGeom>
          <a:noFill/>
        </p:spPr>
        <p:txBody>
          <a:bodyPr>
            <a:spAutoFit/>
          </a:bodyPr>
          <a:lstStyle>
            <a:defPPr>
              <a:defRPr lang="en-US"/>
            </a:defPPr>
            <a:lvl1pPr algn="r">
              <a:defRPr sz="12200" b="0" i="0">
                <a:solidFill>
                  <a:schemeClr val="accent1"/>
                </a:solidFill>
                <a:latin typeface="Arial"/>
                <a:cs typeface="Arial"/>
              </a:defRPr>
            </a:lvl1pPr>
          </a:lstStyle>
          <a:p>
            <a:pPr>
              <a:defRPr/>
            </a:pPr>
            <a:r>
              <a:rPr lang="en-US" sz="7200" dirty="0"/>
              <a:t>“</a:t>
            </a:r>
          </a:p>
        </p:txBody>
      </p:sp>
      <p:sp>
        <p:nvSpPr>
          <p:cNvPr id="19" name="Rectangle 18">
            <a:extLst>
              <a:ext uri="{FF2B5EF4-FFF2-40B4-BE49-F238E27FC236}">
                <a16:creationId xmlns:a16="http://schemas.microsoft.com/office/drawing/2014/main" id="{AAECB94F-0061-8C4F-BEE8-F757764A2B1B}"/>
              </a:ext>
            </a:extLst>
          </p:cNvPr>
          <p:cNvSpPr/>
          <p:nvPr/>
        </p:nvSpPr>
        <p:spPr>
          <a:xfrm>
            <a:off x="10437813"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pic>
        <p:nvPicPr>
          <p:cNvPr id="20" name="Picture 36">
            <a:extLst>
              <a:ext uri="{FF2B5EF4-FFF2-40B4-BE49-F238E27FC236}">
                <a16:creationId xmlns:a16="http://schemas.microsoft.com/office/drawing/2014/main" id="{F42286F8-83FA-9D40-AE01-E20F084BDDB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947277" y="5864227"/>
            <a:ext cx="2009775"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581877" y="980518"/>
            <a:ext cx="8453907" cy="2698249"/>
          </a:xfrm>
        </p:spPr>
        <p:txBody>
          <a:bodyPr/>
          <a:lstStyle>
            <a:lvl1pPr>
              <a:defRPr sz="3000"/>
            </a:lvl1pPr>
          </a:lstStyle>
          <a:p>
            <a:r>
              <a:rPr lang="en-US"/>
              <a:t>Click to edit Master title style</a:t>
            </a:r>
            <a:endParaRPr lang="en-US" dirty="0"/>
          </a:p>
        </p:txBody>
      </p:sp>
      <p:sp>
        <p:nvSpPr>
          <p:cNvPr id="14" name="Text Placeholder 3"/>
          <p:cNvSpPr>
            <a:spLocks noGrp="1"/>
          </p:cNvSpPr>
          <p:nvPr>
            <p:ph type="body" sz="half" idx="13"/>
          </p:nvPr>
        </p:nvSpPr>
        <p:spPr bwMode="gray">
          <a:xfrm>
            <a:off x="1945946" y="3678766"/>
            <a:ext cx="7725772" cy="342174"/>
          </a:xfrm>
        </p:spPr>
        <p:txBody>
          <a:bodyPr>
            <a:normAutofit/>
          </a:bodyPr>
          <a:lstStyle>
            <a:lvl1pPr marL="0" indent="0">
              <a:buNone/>
              <a:defRPr lang="en-US" sz="1050" b="0" i="0" kern="1200" cap="small" dirty="0">
                <a:solidFill>
                  <a:schemeClr val="accent1"/>
                </a:solidFill>
                <a:latin typeface="+mn-lt"/>
                <a:ea typeface="+mn-ea"/>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10" name="Text Placeholder 3"/>
          <p:cNvSpPr>
            <a:spLocks noGrp="1"/>
          </p:cNvSpPr>
          <p:nvPr>
            <p:ph type="body" sz="half" idx="2"/>
          </p:nvPr>
        </p:nvSpPr>
        <p:spPr>
          <a:xfrm>
            <a:off x="1099537" y="4322948"/>
            <a:ext cx="8825659" cy="1676400"/>
          </a:xfrm>
        </p:spPr>
        <p:txBody>
          <a:bodyPr anchor="ctr">
            <a:normAutofit/>
          </a:bodyPr>
          <a:lstStyle>
            <a:lvl1pPr marL="0" indent="0">
              <a:buNone/>
              <a:defRPr sz="13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dirty="0"/>
              <a:t>Click to edit Master text styles</a:t>
            </a:r>
          </a:p>
        </p:txBody>
      </p:sp>
      <p:sp>
        <p:nvSpPr>
          <p:cNvPr id="21" name="Footer Placeholder 4">
            <a:extLst>
              <a:ext uri="{FF2B5EF4-FFF2-40B4-BE49-F238E27FC236}">
                <a16:creationId xmlns:a16="http://schemas.microsoft.com/office/drawing/2014/main" id="{1C60513E-905A-7C49-8CBA-1231B436F4EF}"/>
              </a:ext>
            </a:extLst>
          </p:cNvPr>
          <p:cNvSpPr>
            <a:spLocks noGrp="1"/>
          </p:cNvSpPr>
          <p:nvPr>
            <p:ph type="ftr" sz="quarter" idx="14"/>
          </p:nvPr>
        </p:nvSpPr>
        <p:spPr/>
        <p:txBody>
          <a:bodyPr/>
          <a:lstStyle>
            <a:lvl1pPr>
              <a:defRPr/>
            </a:lvl1pPr>
          </a:lstStyle>
          <a:p>
            <a:pPr>
              <a:defRPr/>
            </a:pPr>
            <a:endParaRPr lang="en-US"/>
          </a:p>
        </p:txBody>
      </p:sp>
    </p:spTree>
    <p:extLst>
      <p:ext uri="{BB962C8B-B14F-4D97-AF65-F5344CB8AC3E}">
        <p14:creationId xmlns:p14="http://schemas.microsoft.com/office/powerpoint/2010/main" val="23964327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grpSp>
        <p:nvGrpSpPr>
          <p:cNvPr id="4" name="Group 17">
            <a:extLst>
              <a:ext uri="{FF2B5EF4-FFF2-40B4-BE49-F238E27FC236}">
                <a16:creationId xmlns:a16="http://schemas.microsoft.com/office/drawing/2014/main" id="{B14A6DBE-90F3-7845-9DF7-B0AAA936864E}"/>
              </a:ext>
            </a:extLst>
          </p:cNvPr>
          <p:cNvGrpSpPr>
            <a:grpSpLocks/>
          </p:cNvGrpSpPr>
          <p:nvPr/>
        </p:nvGrpSpPr>
        <p:grpSpPr bwMode="auto">
          <a:xfrm>
            <a:off x="123825" y="1"/>
            <a:ext cx="12192000" cy="6867525"/>
            <a:chOff x="0" y="-2373"/>
            <a:chExt cx="12192000" cy="6867027"/>
          </a:xfrm>
        </p:grpSpPr>
        <p:sp>
          <p:nvSpPr>
            <p:cNvPr id="5" name="Rectangle 4">
              <a:extLst>
                <a:ext uri="{FF2B5EF4-FFF2-40B4-BE49-F238E27FC236}">
                  <a16:creationId xmlns:a16="http://schemas.microsoft.com/office/drawing/2014/main" id="{AE62EB34-FD49-0E4E-9521-B2FF8E7ECF8D}"/>
                </a:ext>
              </a:extLst>
            </p:cNvPr>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6" name="Oval 5">
              <a:extLst>
                <a:ext uri="{FF2B5EF4-FFF2-40B4-BE49-F238E27FC236}">
                  <a16:creationId xmlns:a16="http://schemas.microsoft.com/office/drawing/2014/main" id="{25B7841A-4CE3-9545-94D9-8664CB108110}"/>
                </a:ext>
              </a:extLst>
            </p:cNvPr>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Oval 6">
              <a:extLst>
                <a:ext uri="{FF2B5EF4-FFF2-40B4-BE49-F238E27FC236}">
                  <a16:creationId xmlns:a16="http://schemas.microsoft.com/office/drawing/2014/main" id="{13D9723D-FAC3-CC4B-AAB1-A419A13A472D}"/>
                </a:ext>
              </a:extLst>
            </p:cNvPr>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Oval 7">
              <a:extLst>
                <a:ext uri="{FF2B5EF4-FFF2-40B4-BE49-F238E27FC236}">
                  <a16:creationId xmlns:a16="http://schemas.microsoft.com/office/drawing/2014/main" id="{122386AD-952A-7F48-92A3-C47D0BEA6154}"/>
                </a:ext>
              </a:extLst>
            </p:cNvPr>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9" name="Oval 8">
              <a:extLst>
                <a:ext uri="{FF2B5EF4-FFF2-40B4-BE49-F238E27FC236}">
                  <a16:creationId xmlns:a16="http://schemas.microsoft.com/office/drawing/2014/main" id="{C6207510-F029-9D48-BD22-9D76DECE89AD}"/>
                </a:ext>
              </a:extLst>
            </p:cNvPr>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0" name="Oval 9">
              <a:extLst>
                <a:ext uri="{FF2B5EF4-FFF2-40B4-BE49-F238E27FC236}">
                  <a16:creationId xmlns:a16="http://schemas.microsoft.com/office/drawing/2014/main" id="{2B9F7D3A-6FB2-904A-B51B-2A9ED4E5EDEC}"/>
                </a:ext>
              </a:extLst>
            </p:cNvPr>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1" name="Freeform 5">
              <a:extLst>
                <a:ext uri="{FF2B5EF4-FFF2-40B4-BE49-F238E27FC236}">
                  <a16:creationId xmlns:a16="http://schemas.microsoft.com/office/drawing/2014/main" id="{613BC4F7-2FED-D645-A51C-C78A02DDB895}"/>
                </a:ext>
              </a:extLst>
            </p:cNvPr>
            <p:cNvSpPr>
              <a:spLocks/>
            </p:cNvSpPr>
            <p:nvPr/>
          </p:nvSpPr>
          <p:spPr bwMode="gray">
            <a:xfrm rot="-589932">
              <a:off x="8490951" y="4193583"/>
              <a:ext cx="3299407" cy="440924"/>
            </a:xfrm>
            <a:custGeom>
              <a:avLst/>
              <a:gdLst>
                <a:gd name="T0" fmla="*/ 9253187 w 10000"/>
                <a:gd name="T1" fmla="*/ 17583959 h 5291"/>
                <a:gd name="T2" fmla="*/ 1084036337 w 10000"/>
                <a:gd name="T3" fmla="*/ 36744278 h 5291"/>
                <a:gd name="T4" fmla="*/ 1088608655 w 10000"/>
                <a:gd name="T5" fmla="*/ 0 h 5291"/>
                <a:gd name="T6" fmla="*/ 1088608655 w 10000"/>
                <a:gd name="T7" fmla="*/ 0 h 5291"/>
                <a:gd name="T8" fmla="*/ 1052358070 w 10000"/>
                <a:gd name="T9" fmla="*/ 1416690 h 5291"/>
                <a:gd name="T10" fmla="*/ 1016107156 w 10000"/>
                <a:gd name="T11" fmla="*/ 2777880 h 5291"/>
                <a:gd name="T12" fmla="*/ 979856571 w 10000"/>
                <a:gd name="T13" fmla="*/ 4097318 h 5291"/>
                <a:gd name="T14" fmla="*/ 943497106 w 10000"/>
                <a:gd name="T15" fmla="*/ 5229337 h 5291"/>
                <a:gd name="T16" fmla="*/ 907137641 w 10000"/>
                <a:gd name="T17" fmla="*/ 6368273 h 5291"/>
                <a:gd name="T18" fmla="*/ 870778176 w 10000"/>
                <a:gd name="T19" fmla="*/ 7437707 h 5291"/>
                <a:gd name="T20" fmla="*/ 834853902 w 10000"/>
                <a:gd name="T21" fmla="*/ 8347472 h 5291"/>
                <a:gd name="T22" fmla="*/ 798276676 w 10000"/>
                <a:gd name="T23" fmla="*/ 9201736 h 5291"/>
                <a:gd name="T24" fmla="*/ 762026092 w 10000"/>
                <a:gd name="T25" fmla="*/ 10000333 h 5291"/>
                <a:gd name="T26" fmla="*/ 726428460 w 10000"/>
                <a:gd name="T27" fmla="*/ 10680928 h 5291"/>
                <a:gd name="T28" fmla="*/ 690177875 w 10000"/>
                <a:gd name="T29" fmla="*/ 11361522 h 5291"/>
                <a:gd name="T30" fmla="*/ 654580243 w 10000"/>
                <a:gd name="T31" fmla="*/ 11937865 h 5291"/>
                <a:gd name="T32" fmla="*/ 618982941 w 10000"/>
                <a:gd name="T33" fmla="*/ 12389289 h 5291"/>
                <a:gd name="T34" fmla="*/ 583385309 w 10000"/>
                <a:gd name="T35" fmla="*/ 12847630 h 5291"/>
                <a:gd name="T36" fmla="*/ 548223198 w 10000"/>
                <a:gd name="T37" fmla="*/ 13236553 h 5291"/>
                <a:gd name="T38" fmla="*/ 513496610 w 10000"/>
                <a:gd name="T39" fmla="*/ 13528225 h 5291"/>
                <a:gd name="T40" fmla="*/ 478552260 w 10000"/>
                <a:gd name="T41" fmla="*/ 13750479 h 5291"/>
                <a:gd name="T42" fmla="*/ 444043432 w 10000"/>
                <a:gd name="T43" fmla="*/ 13979649 h 5291"/>
                <a:gd name="T44" fmla="*/ 409970126 w 10000"/>
                <a:gd name="T45" fmla="*/ 14090734 h 5291"/>
                <a:gd name="T46" fmla="*/ 376005371 w 10000"/>
                <a:gd name="T47" fmla="*/ 14208820 h 5291"/>
                <a:gd name="T48" fmla="*/ 342367587 w 10000"/>
                <a:gd name="T49" fmla="*/ 14257404 h 5291"/>
                <a:gd name="T50" fmla="*/ 309056114 w 10000"/>
                <a:gd name="T51" fmla="*/ 14208820 h 5291"/>
                <a:gd name="T52" fmla="*/ 276180162 w 10000"/>
                <a:gd name="T53" fmla="*/ 14208820 h 5291"/>
                <a:gd name="T54" fmla="*/ 243630522 w 10000"/>
                <a:gd name="T55" fmla="*/ 14090734 h 5291"/>
                <a:gd name="T56" fmla="*/ 211516734 w 10000"/>
                <a:gd name="T57" fmla="*/ 13917148 h 5291"/>
                <a:gd name="T58" fmla="*/ 179947018 w 10000"/>
                <a:gd name="T59" fmla="*/ 13750479 h 5291"/>
                <a:gd name="T60" fmla="*/ 148921704 w 10000"/>
                <a:gd name="T61" fmla="*/ 13576809 h 5291"/>
                <a:gd name="T62" fmla="*/ 118114151 w 10000"/>
                <a:gd name="T63" fmla="*/ 13299055 h 5291"/>
                <a:gd name="T64" fmla="*/ 87741790 w 10000"/>
                <a:gd name="T65" fmla="*/ 13007383 h 5291"/>
                <a:gd name="T66" fmla="*/ 58022712 w 10000"/>
                <a:gd name="T67" fmla="*/ 12729628 h 5291"/>
                <a:gd name="T68" fmla="*/ 0 w 10000"/>
                <a:gd name="T69" fmla="*/ 11986533 h 5291"/>
                <a:gd name="T70" fmla="*/ 9253187 w 10000"/>
                <a:gd name="T71" fmla="*/ 17583959 h 529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000" h="5291">
                  <a:moveTo>
                    <a:pt x="85" y="2532"/>
                  </a:moveTo>
                  <a:cubicBezTo>
                    <a:pt x="1736" y="3911"/>
                    <a:pt x="7524" y="5298"/>
                    <a:pt x="9958" y="5291"/>
                  </a:cubicBezTo>
                  <a:cubicBezTo>
                    <a:pt x="9989" y="1958"/>
                    <a:pt x="9969" y="3333"/>
                    <a:pt x="10000" y="0"/>
                  </a:cubicBez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2" name="Freeform 5">
              <a:extLst>
                <a:ext uri="{FF2B5EF4-FFF2-40B4-BE49-F238E27FC236}">
                  <a16:creationId xmlns:a16="http://schemas.microsoft.com/office/drawing/2014/main" id="{B6A49C1F-F41B-C24F-BEC7-ACF33C0E89DF}"/>
                </a:ext>
              </a:extLst>
            </p:cNvPr>
            <p:cNvSpPr>
              <a:spLocks/>
            </p:cNvSpPr>
            <p:nvPr/>
          </p:nvSpPr>
          <p:spPr bwMode="gray">
            <a:xfrm>
              <a:off x="455612" y="4241801"/>
              <a:ext cx="11277600" cy="2337161"/>
            </a:xfrm>
            <a:custGeom>
              <a:avLst/>
              <a:gdLst>
                <a:gd name="T0" fmla="*/ 0 w 10000"/>
                <a:gd name="T1" fmla="*/ 0 h 8000"/>
                <a:gd name="T2" fmla="*/ 0 w 10000"/>
                <a:gd name="T3" fmla="*/ 680229833 h 8000"/>
                <a:gd name="T4" fmla="*/ 2147483646 w 10000"/>
                <a:gd name="T5" fmla="*/ 682790192 h 8000"/>
                <a:gd name="T6" fmla="*/ 2147483646 w 10000"/>
                <a:gd name="T7" fmla="*/ 597437 h 8000"/>
                <a:gd name="T8" fmla="*/ 2147483646 w 10000"/>
                <a:gd name="T9" fmla="*/ 597437 h 8000"/>
                <a:gd name="T10" fmla="*/ 2147483646 w 10000"/>
                <a:gd name="T11" fmla="*/ 13314514 h 8000"/>
                <a:gd name="T12" fmla="*/ 2147483646 w 10000"/>
                <a:gd name="T13" fmla="*/ 25433862 h 8000"/>
                <a:gd name="T14" fmla="*/ 2147483646 w 10000"/>
                <a:gd name="T15" fmla="*/ 37297292 h 8000"/>
                <a:gd name="T16" fmla="*/ 2147483646 w 10000"/>
                <a:gd name="T17" fmla="*/ 47454009 h 8000"/>
                <a:gd name="T18" fmla="*/ 2147483646 w 10000"/>
                <a:gd name="T19" fmla="*/ 57695741 h 8000"/>
                <a:gd name="T20" fmla="*/ 2147483646 w 10000"/>
                <a:gd name="T21" fmla="*/ 67254729 h 8000"/>
                <a:gd name="T22" fmla="*/ 2147483646 w 10000"/>
                <a:gd name="T23" fmla="*/ 75448231 h 8000"/>
                <a:gd name="T24" fmla="*/ 2147483646 w 10000"/>
                <a:gd name="T25" fmla="*/ 83214910 h 8000"/>
                <a:gd name="T26" fmla="*/ 2147483646 w 10000"/>
                <a:gd name="T27" fmla="*/ 90299137 h 8000"/>
                <a:gd name="T28" fmla="*/ 2147483646 w 10000"/>
                <a:gd name="T29" fmla="*/ 96444117 h 8000"/>
                <a:gd name="T30" fmla="*/ 2147483646 w 10000"/>
                <a:gd name="T31" fmla="*/ 102589098 h 8000"/>
                <a:gd name="T32" fmla="*/ 2147483646 w 10000"/>
                <a:gd name="T33" fmla="*/ 107710110 h 8000"/>
                <a:gd name="T34" fmla="*/ 2147483646 w 10000"/>
                <a:gd name="T35" fmla="*/ 111721554 h 8000"/>
                <a:gd name="T36" fmla="*/ 2147483646 w 10000"/>
                <a:gd name="T37" fmla="*/ 115903612 h 8000"/>
                <a:gd name="T38" fmla="*/ 2147483646 w 10000"/>
                <a:gd name="T39" fmla="*/ 119402926 h 8000"/>
                <a:gd name="T40" fmla="*/ 2147483646 w 10000"/>
                <a:gd name="T41" fmla="*/ 121877980 h 8000"/>
                <a:gd name="T42" fmla="*/ 2147483646 w 10000"/>
                <a:gd name="T43" fmla="*/ 124011808 h 8000"/>
                <a:gd name="T44" fmla="*/ 2147483646 w 10000"/>
                <a:gd name="T45" fmla="*/ 126060037 h 8000"/>
                <a:gd name="T46" fmla="*/ 2147483646 w 10000"/>
                <a:gd name="T47" fmla="*/ 126998992 h 8000"/>
                <a:gd name="T48" fmla="*/ 2147483646 w 10000"/>
                <a:gd name="T49" fmla="*/ 128023252 h 8000"/>
                <a:gd name="T50" fmla="*/ 2147483646 w 10000"/>
                <a:gd name="T51" fmla="*/ 128535383 h 8000"/>
                <a:gd name="T52" fmla="*/ 2147483646 w 10000"/>
                <a:gd name="T53" fmla="*/ 128023252 h 8000"/>
                <a:gd name="T54" fmla="*/ 2147483646 w 10000"/>
                <a:gd name="T55" fmla="*/ 128023252 h 8000"/>
                <a:gd name="T56" fmla="*/ 2147483646 w 10000"/>
                <a:gd name="T57" fmla="*/ 126998992 h 8000"/>
                <a:gd name="T58" fmla="*/ 2147483646 w 10000"/>
                <a:gd name="T59" fmla="*/ 125462600 h 8000"/>
                <a:gd name="T60" fmla="*/ 2147483646 w 10000"/>
                <a:gd name="T61" fmla="*/ 124011808 h 8000"/>
                <a:gd name="T62" fmla="*/ 2147483646 w 10000"/>
                <a:gd name="T63" fmla="*/ 122390110 h 8000"/>
                <a:gd name="T64" fmla="*/ 2147483646 w 10000"/>
                <a:gd name="T65" fmla="*/ 119915057 h 8000"/>
                <a:gd name="T66" fmla="*/ 2147483646 w 10000"/>
                <a:gd name="T67" fmla="*/ 117269098 h 8000"/>
                <a:gd name="T68" fmla="*/ 2147483646 w 10000"/>
                <a:gd name="T69" fmla="*/ 114879351 h 8000"/>
                <a:gd name="T70" fmla="*/ 2147483646 w 10000"/>
                <a:gd name="T71" fmla="*/ 108136934 h 8000"/>
                <a:gd name="T72" fmla="*/ 2147483646 w 10000"/>
                <a:gd name="T73" fmla="*/ 100967692 h 8000"/>
                <a:gd name="T74" fmla="*/ 2147483646 w 10000"/>
                <a:gd name="T75" fmla="*/ 93456933 h 8000"/>
                <a:gd name="T76" fmla="*/ 2147483646 w 10000"/>
                <a:gd name="T77" fmla="*/ 85178125 h 8000"/>
                <a:gd name="T78" fmla="*/ 2147483646 w 10000"/>
                <a:gd name="T79" fmla="*/ 76557799 h 8000"/>
                <a:gd name="T80" fmla="*/ 2047667065 w 10000"/>
                <a:gd name="T81" fmla="*/ 67254729 h 8000"/>
                <a:gd name="T82" fmla="*/ 1713172322 w 10000"/>
                <a:gd name="T83" fmla="*/ 58122565 h 8000"/>
                <a:gd name="T84" fmla="*/ 1405386318 w 10000"/>
                <a:gd name="T85" fmla="*/ 48990108 h 8000"/>
                <a:gd name="T86" fmla="*/ 1123036941 w 10000"/>
                <a:gd name="T87" fmla="*/ 40370074 h 8000"/>
                <a:gd name="T88" fmla="*/ 872483630 w 10000"/>
                <a:gd name="T89" fmla="*/ 32176572 h 8000"/>
                <a:gd name="T90" fmla="*/ 646095960 w 10000"/>
                <a:gd name="T91" fmla="*/ 24409894 h 8000"/>
                <a:gd name="T92" fmla="*/ 455319567 w 10000"/>
                <a:gd name="T93" fmla="*/ 17923103 h 8000"/>
                <a:gd name="T94" fmla="*/ 295067126 w 10000"/>
                <a:gd name="T95" fmla="*/ 11778123 h 8000"/>
                <a:gd name="T96" fmla="*/ 75038895 w 10000"/>
                <a:gd name="T97" fmla="*/ 2987184 h 8000"/>
                <a:gd name="T98" fmla="*/ 0 w 10000"/>
                <a:gd name="T99" fmla="*/ 0 h 8000"/>
                <a:gd name="T100" fmla="*/ 0 w 10000"/>
                <a:gd name="T101" fmla="*/ 0 h 80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000" h="8000">
                  <a:moveTo>
                    <a:pt x="0" y="0"/>
                  </a:moveTo>
                  <a:lnTo>
                    <a:pt x="0" y="7970"/>
                  </a:lnTo>
                  <a:lnTo>
                    <a:pt x="10000" y="8000"/>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3" name="Freeform 5">
              <a:extLst>
                <a:ext uri="{FF2B5EF4-FFF2-40B4-BE49-F238E27FC236}">
                  <a16:creationId xmlns:a16="http://schemas.microsoft.com/office/drawing/2014/main" id="{CBC697CB-3F57-B24B-890C-F4A5992584CF}"/>
                </a:ext>
              </a:extLst>
            </p:cNvPr>
            <p:cNvSpPr>
              <a:spLocks noEditPoints="1"/>
            </p:cNvSpPr>
            <p:nvPr/>
          </p:nvSpPr>
          <p:spPr bwMode="gray">
            <a:xfrm>
              <a:off x="0" y="1587"/>
              <a:ext cx="12192000" cy="6856413"/>
            </a:xfrm>
            <a:custGeom>
              <a:avLst/>
              <a:gdLst>
                <a:gd name="T0" fmla="*/ 0 w 15356"/>
                <a:gd name="T1" fmla="*/ 0 h 8638"/>
                <a:gd name="T2" fmla="*/ 0 w 15356"/>
                <a:gd name="T3" fmla="*/ 2147483646 h 8638"/>
                <a:gd name="T4" fmla="*/ 2147483646 w 15356"/>
                <a:gd name="T5" fmla="*/ 2147483646 h 8638"/>
                <a:gd name="T6" fmla="*/ 2147483646 w 15356"/>
                <a:gd name="T7" fmla="*/ 0 h 8638"/>
                <a:gd name="T8" fmla="*/ 0 w 15356"/>
                <a:gd name="T9" fmla="*/ 0 h 8638"/>
                <a:gd name="T10" fmla="*/ 2147483646 w 15356"/>
                <a:gd name="T11" fmla="*/ 2147483646 h 8638"/>
                <a:gd name="T12" fmla="*/ 378220357 w 15356"/>
                <a:gd name="T13" fmla="*/ 2147483646 h 8638"/>
                <a:gd name="T14" fmla="*/ 378220357 w 15356"/>
                <a:gd name="T15" fmla="*/ 372983152 h 8638"/>
                <a:gd name="T16" fmla="*/ 2147483646 w 15356"/>
                <a:gd name="T17" fmla="*/ 372983152 h 8638"/>
                <a:gd name="T18" fmla="*/ 2147483646 w 15356"/>
                <a:gd name="T19" fmla="*/ 2147483646 h 86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4" name="Rectangle 13">
            <a:extLst>
              <a:ext uri="{FF2B5EF4-FFF2-40B4-BE49-F238E27FC236}">
                <a16:creationId xmlns:a16="http://schemas.microsoft.com/office/drawing/2014/main" id="{4CEB43F4-854D-0948-944A-5288FAD5EC68}"/>
              </a:ext>
            </a:extLst>
          </p:cNvPr>
          <p:cNvSpPr/>
          <p:nvPr/>
        </p:nvSpPr>
        <p:spPr>
          <a:xfrm>
            <a:off x="10437813"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pic>
        <p:nvPicPr>
          <p:cNvPr id="15" name="Picture 34">
            <a:extLst>
              <a:ext uri="{FF2B5EF4-FFF2-40B4-BE49-F238E27FC236}">
                <a16:creationId xmlns:a16="http://schemas.microsoft.com/office/drawing/2014/main" id="{569EFC76-7FE2-8D47-8FFB-B1601FA3E13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947277" y="5864227"/>
            <a:ext cx="2009775"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016410" y="2370667"/>
            <a:ext cx="8825660" cy="1822514"/>
          </a:xfrm>
        </p:spPr>
        <p:txBody>
          <a:bodyPr anchor="b"/>
          <a:lstStyle>
            <a:lvl1pPr algn="l">
              <a:defRPr sz="3000" b="0" cap="none"/>
            </a:lvl1pPr>
          </a:lstStyle>
          <a:p>
            <a:r>
              <a:rPr lang="en-US"/>
              <a:t>Click to edit Master title style</a:t>
            </a:r>
            <a:endParaRPr lang="en-US" dirty="0"/>
          </a:p>
        </p:txBody>
      </p:sp>
      <p:sp>
        <p:nvSpPr>
          <p:cNvPr id="3" name="Text Placeholder 2"/>
          <p:cNvSpPr>
            <a:spLocks noGrp="1"/>
          </p:cNvSpPr>
          <p:nvPr>
            <p:ph type="body" idx="1"/>
          </p:nvPr>
        </p:nvSpPr>
        <p:spPr>
          <a:xfrm>
            <a:off x="1016409" y="5033068"/>
            <a:ext cx="8825659" cy="860400"/>
          </a:xfrm>
        </p:spPr>
        <p:txBody>
          <a:bodyPr/>
          <a:lstStyle>
            <a:lvl1pPr marL="0" indent="0" algn="l">
              <a:buNone/>
              <a:defRPr sz="1500" cap="none">
                <a:solidFill>
                  <a:schemeClr val="accent1"/>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16" name="Footer Placeholder 4">
            <a:extLst>
              <a:ext uri="{FF2B5EF4-FFF2-40B4-BE49-F238E27FC236}">
                <a16:creationId xmlns:a16="http://schemas.microsoft.com/office/drawing/2014/main" id="{6B36B8BE-5D2E-644E-8C04-ECA9A876857E}"/>
              </a:ext>
            </a:extLst>
          </p:cNvPr>
          <p:cNvSpPr>
            <a:spLocks noGrp="1"/>
          </p:cNvSpPr>
          <p:nvPr>
            <p:ph type="ftr" sz="quarter" idx="10"/>
          </p:nvPr>
        </p:nvSpPr>
        <p:spPr/>
        <p:txBody>
          <a:bodyPr/>
          <a:lstStyle>
            <a:lvl1pPr>
              <a:defRPr/>
            </a:lvl1pPr>
          </a:lstStyle>
          <a:p>
            <a:pPr>
              <a:defRPr/>
            </a:pPr>
            <a:endParaRPr lang="en-US"/>
          </a:p>
        </p:txBody>
      </p:sp>
    </p:spTree>
    <p:extLst>
      <p:ext uri="{BB962C8B-B14F-4D97-AF65-F5344CB8AC3E}">
        <p14:creationId xmlns:p14="http://schemas.microsoft.com/office/powerpoint/2010/main" val="187735673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18CB0756-CFC0-DF4B-8A7F-3E9472ADDD40}"/>
              </a:ext>
            </a:extLst>
          </p:cNvPr>
          <p:cNvCxnSpPr/>
          <p:nvPr/>
        </p:nvCxnSpPr>
        <p:spPr>
          <a:xfrm>
            <a:off x="4403725" y="2505075"/>
            <a:ext cx="0" cy="3492500"/>
          </a:xfrm>
          <a:prstGeom prst="line">
            <a:avLst/>
          </a:prstGeom>
          <a:ln w="12700" cmpd="sng">
            <a:solidFill>
              <a:schemeClr val="accent1">
                <a:alpha val="41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C1403651-BC18-CF4E-812A-F3B23262E2F9}"/>
              </a:ext>
            </a:extLst>
          </p:cNvPr>
          <p:cNvCxnSpPr/>
          <p:nvPr/>
        </p:nvCxnSpPr>
        <p:spPr>
          <a:xfrm>
            <a:off x="7772400" y="2505075"/>
            <a:ext cx="0" cy="3492500"/>
          </a:xfrm>
          <a:prstGeom prst="line">
            <a:avLst/>
          </a:prstGeom>
          <a:ln w="12700" cmpd="sng">
            <a:solidFill>
              <a:schemeClr val="accent1">
                <a:alpha val="41000"/>
              </a:schemeClr>
            </a:solidFill>
          </a:ln>
        </p:spPr>
        <p:style>
          <a:lnRef idx="2">
            <a:schemeClr val="accent1"/>
          </a:lnRef>
          <a:fillRef idx="0">
            <a:schemeClr val="accent1"/>
          </a:fillRef>
          <a:effectRef idx="1">
            <a:schemeClr val="accent1"/>
          </a:effectRef>
          <a:fontRef idx="minor">
            <a:schemeClr val="tx1"/>
          </a:fontRef>
        </p:style>
      </p:cxnSp>
      <p:pic>
        <p:nvPicPr>
          <p:cNvPr id="11" name="Picture 24">
            <a:extLst>
              <a:ext uri="{FF2B5EF4-FFF2-40B4-BE49-F238E27FC236}">
                <a16:creationId xmlns:a16="http://schemas.microsoft.com/office/drawing/2014/main" id="{7FEB6B72-546B-CA49-95D6-342F87260C5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364789" y="6003925"/>
            <a:ext cx="163353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sz="2700"/>
            </a:lvl1pPr>
          </a:lstStyle>
          <a:p>
            <a:r>
              <a:rPr lang="en-US"/>
              <a:t>Click to edit Master title style</a:t>
            </a:r>
            <a:endParaRPr lang="en-US" dirty="0"/>
          </a:p>
        </p:txBody>
      </p:sp>
      <p:sp>
        <p:nvSpPr>
          <p:cNvPr id="3" name="Text Placeholder 2"/>
          <p:cNvSpPr>
            <a:spLocks noGrp="1"/>
          </p:cNvSpPr>
          <p:nvPr>
            <p:ph type="body" idx="1"/>
          </p:nvPr>
        </p:nvSpPr>
        <p:spPr>
          <a:xfrm>
            <a:off x="1154955" y="2523744"/>
            <a:ext cx="3129168" cy="576262"/>
          </a:xfrm>
        </p:spPr>
        <p:txBody>
          <a:bodyPr anchor="b">
            <a:noAutofit/>
          </a:bodyPr>
          <a:lstStyle>
            <a:lvl1pPr marL="0" indent="0">
              <a:buNone/>
              <a:defRPr sz="1800" b="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16" name="Text Placeholder 3"/>
          <p:cNvSpPr>
            <a:spLocks noGrp="1"/>
          </p:cNvSpPr>
          <p:nvPr>
            <p:ph type="body" sz="half" idx="15"/>
          </p:nvPr>
        </p:nvSpPr>
        <p:spPr>
          <a:xfrm>
            <a:off x="1154955" y="3129766"/>
            <a:ext cx="3129168" cy="2833496"/>
          </a:xfrm>
        </p:spPr>
        <p:txBody>
          <a:bodyPr>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Text Placeholder 4"/>
          <p:cNvSpPr>
            <a:spLocks noGrp="1"/>
          </p:cNvSpPr>
          <p:nvPr>
            <p:ph type="body" sz="quarter" idx="3"/>
          </p:nvPr>
        </p:nvSpPr>
        <p:spPr>
          <a:xfrm>
            <a:off x="4512722" y="2523744"/>
            <a:ext cx="3145380" cy="576262"/>
          </a:xfrm>
        </p:spPr>
        <p:txBody>
          <a:bodyPr anchor="b">
            <a:noAutofit/>
          </a:bodyPr>
          <a:lstStyle>
            <a:lvl1pPr marL="0" indent="0">
              <a:buNone/>
              <a:defRPr sz="1800" b="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19" name="Text Placeholder 3"/>
          <p:cNvSpPr>
            <a:spLocks noGrp="1"/>
          </p:cNvSpPr>
          <p:nvPr>
            <p:ph type="body" sz="half" idx="16"/>
          </p:nvPr>
        </p:nvSpPr>
        <p:spPr>
          <a:xfrm>
            <a:off x="4512722" y="3129768"/>
            <a:ext cx="3145380" cy="2833495"/>
          </a:xfrm>
        </p:spPr>
        <p:txBody>
          <a:bodyPr>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14" name="Text Placeholder 4"/>
          <p:cNvSpPr>
            <a:spLocks noGrp="1"/>
          </p:cNvSpPr>
          <p:nvPr>
            <p:ph type="body" sz="quarter" idx="13"/>
          </p:nvPr>
        </p:nvSpPr>
        <p:spPr>
          <a:xfrm>
            <a:off x="7886700" y="2523746"/>
            <a:ext cx="3161029" cy="576261"/>
          </a:xfrm>
        </p:spPr>
        <p:txBody>
          <a:bodyPr anchor="b">
            <a:noAutofit/>
          </a:bodyPr>
          <a:lstStyle>
            <a:lvl1pPr marL="0" indent="0">
              <a:buNone/>
              <a:defRPr sz="1800" b="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20" name="Text Placeholder 3"/>
          <p:cNvSpPr>
            <a:spLocks noGrp="1"/>
          </p:cNvSpPr>
          <p:nvPr>
            <p:ph type="body" sz="half" idx="17"/>
          </p:nvPr>
        </p:nvSpPr>
        <p:spPr>
          <a:xfrm>
            <a:off x="7886702" y="3129768"/>
            <a:ext cx="3164719" cy="2833493"/>
          </a:xfrm>
        </p:spPr>
        <p:txBody>
          <a:bodyPr>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12" name="Footer Placeholder 7">
            <a:extLst>
              <a:ext uri="{FF2B5EF4-FFF2-40B4-BE49-F238E27FC236}">
                <a16:creationId xmlns:a16="http://schemas.microsoft.com/office/drawing/2014/main" id="{54B303B0-03E9-FD4E-99D7-86B668B7B711}"/>
              </a:ext>
            </a:extLst>
          </p:cNvPr>
          <p:cNvSpPr>
            <a:spLocks noGrp="1"/>
          </p:cNvSpPr>
          <p:nvPr>
            <p:ph type="ftr" sz="quarter" idx="18"/>
          </p:nvPr>
        </p:nvSpPr>
        <p:spPr/>
        <p:txBody>
          <a:bodyPr/>
          <a:lstStyle>
            <a:lvl1pPr>
              <a:defRPr/>
            </a:lvl1pPr>
          </a:lstStyle>
          <a:p>
            <a:pPr>
              <a:defRPr/>
            </a:pPr>
            <a:endParaRPr lang="en-US"/>
          </a:p>
        </p:txBody>
      </p:sp>
    </p:spTree>
    <p:extLst>
      <p:ext uri="{BB962C8B-B14F-4D97-AF65-F5344CB8AC3E}">
        <p14:creationId xmlns:p14="http://schemas.microsoft.com/office/powerpoint/2010/main" val="197882601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95A4382B-6403-2648-895E-F9155E8CA8CA}"/>
              </a:ext>
            </a:extLst>
          </p:cNvPr>
          <p:cNvCxnSpPr/>
          <p:nvPr/>
        </p:nvCxnSpPr>
        <p:spPr>
          <a:xfrm>
            <a:off x="4387851" y="2476502"/>
            <a:ext cx="0" cy="3516313"/>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E9DE90CB-31DB-D34D-BE3E-06FA03CB6D02}"/>
              </a:ext>
            </a:extLst>
          </p:cNvPr>
          <p:cNvCxnSpPr/>
          <p:nvPr/>
        </p:nvCxnSpPr>
        <p:spPr>
          <a:xfrm>
            <a:off x="7802563" y="2476500"/>
            <a:ext cx="0" cy="3492500"/>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pic>
        <p:nvPicPr>
          <p:cNvPr id="15" name="Picture 24">
            <a:extLst>
              <a:ext uri="{FF2B5EF4-FFF2-40B4-BE49-F238E27FC236}">
                <a16:creationId xmlns:a16="http://schemas.microsoft.com/office/drawing/2014/main" id="{BAEB3571-D7AB-E948-9230-FC41037BD65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364789" y="6003925"/>
            <a:ext cx="163353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sz="2700"/>
            </a:lvl1pPr>
          </a:lstStyle>
          <a:p>
            <a:r>
              <a:rPr lang="en-US"/>
              <a:t>Click to edit Master title style</a:t>
            </a:r>
            <a:endParaRPr lang="en-US" dirty="0"/>
          </a:p>
        </p:txBody>
      </p:sp>
      <p:sp>
        <p:nvSpPr>
          <p:cNvPr id="3" name="Text Placeholder 2"/>
          <p:cNvSpPr>
            <a:spLocks noGrp="1"/>
          </p:cNvSpPr>
          <p:nvPr>
            <p:ph type="body" idx="1"/>
          </p:nvPr>
        </p:nvSpPr>
        <p:spPr>
          <a:xfrm>
            <a:off x="1154954" y="4405255"/>
            <a:ext cx="3050439" cy="576262"/>
          </a:xfrm>
        </p:spPr>
        <p:txBody>
          <a:bodyPr anchor="b">
            <a:noAutofit/>
          </a:bodyPr>
          <a:lstStyle>
            <a:lvl1pPr marL="0" indent="0">
              <a:buNone/>
              <a:defRPr sz="1800" b="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29" name="Picture Placeholder 2"/>
          <p:cNvSpPr>
            <a:spLocks noGrp="1" noChangeAspect="1"/>
          </p:cNvSpPr>
          <p:nvPr>
            <p:ph type="pic" idx="15"/>
          </p:nvPr>
        </p:nvSpPr>
        <p:spPr>
          <a:xfrm>
            <a:off x="1334552" y="2603500"/>
            <a:ext cx="2691243" cy="1591510"/>
          </a:xfrm>
          <a:prstGeom prst="roundRect">
            <a:avLst>
              <a:gd name="adj" fmla="val 1858"/>
            </a:avLst>
          </a:prstGeom>
          <a:effectLst/>
        </p:spPr>
        <p:txBody>
          <a:bodyPr rtlCol="0">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pPr lvl="0"/>
            <a:r>
              <a:rPr lang="en-US" noProof="0" dirty="0"/>
              <a:t>Drag picture to placeholder or click icon to add</a:t>
            </a:r>
          </a:p>
        </p:txBody>
      </p:sp>
      <p:sp>
        <p:nvSpPr>
          <p:cNvPr id="22" name="Text Placeholder 3"/>
          <p:cNvSpPr>
            <a:spLocks noGrp="1"/>
          </p:cNvSpPr>
          <p:nvPr>
            <p:ph type="body" sz="half" idx="18"/>
          </p:nvPr>
        </p:nvSpPr>
        <p:spPr>
          <a:xfrm>
            <a:off x="1154954" y="4981519"/>
            <a:ext cx="3050437" cy="917949"/>
          </a:xfrm>
        </p:spPr>
        <p:txBody>
          <a:bodyPr>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Text Placeholder 4"/>
          <p:cNvSpPr>
            <a:spLocks noGrp="1"/>
          </p:cNvSpPr>
          <p:nvPr>
            <p:ph type="body" sz="quarter" idx="3"/>
          </p:nvPr>
        </p:nvSpPr>
        <p:spPr>
          <a:xfrm>
            <a:off x="4572538" y="4405256"/>
            <a:ext cx="3046767" cy="651156"/>
          </a:xfrm>
        </p:spPr>
        <p:txBody>
          <a:bodyPr anchor="b">
            <a:noAutofit/>
          </a:bodyPr>
          <a:lstStyle>
            <a:lvl1pPr marL="0" indent="0">
              <a:buNone/>
              <a:defRPr sz="1800" b="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30" name="Picture Placeholder 2"/>
          <p:cNvSpPr>
            <a:spLocks noGrp="1" noChangeAspect="1"/>
          </p:cNvSpPr>
          <p:nvPr>
            <p:ph type="pic" idx="21"/>
          </p:nvPr>
        </p:nvSpPr>
        <p:spPr>
          <a:xfrm>
            <a:off x="4748465" y="2603500"/>
            <a:ext cx="2691241" cy="1591510"/>
          </a:xfrm>
          <a:prstGeom prst="roundRect">
            <a:avLst>
              <a:gd name="adj" fmla="val 1858"/>
            </a:avLst>
          </a:prstGeom>
          <a:effectLst/>
        </p:spPr>
        <p:txBody>
          <a:bodyPr rtlCol="0">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pPr lvl="0"/>
            <a:r>
              <a:rPr lang="en-US" noProof="0" dirty="0"/>
              <a:t>Drag picture to placeholder or click icon to add</a:t>
            </a:r>
          </a:p>
        </p:txBody>
      </p:sp>
      <p:sp>
        <p:nvSpPr>
          <p:cNvPr id="23" name="Text Placeholder 3"/>
          <p:cNvSpPr>
            <a:spLocks noGrp="1"/>
          </p:cNvSpPr>
          <p:nvPr>
            <p:ph type="body" sz="half" idx="19"/>
          </p:nvPr>
        </p:nvSpPr>
        <p:spPr>
          <a:xfrm>
            <a:off x="4568866" y="5056412"/>
            <a:ext cx="3050439" cy="843056"/>
          </a:xfrm>
        </p:spPr>
        <p:txBody>
          <a:bodyPr>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14" name="Text Placeholder 4"/>
          <p:cNvSpPr>
            <a:spLocks noGrp="1"/>
          </p:cNvSpPr>
          <p:nvPr>
            <p:ph type="body" sz="quarter" idx="13"/>
          </p:nvPr>
        </p:nvSpPr>
        <p:spPr>
          <a:xfrm>
            <a:off x="7983434" y="4405257"/>
            <a:ext cx="3050439" cy="651154"/>
          </a:xfrm>
        </p:spPr>
        <p:txBody>
          <a:bodyPr anchor="b">
            <a:noAutofit/>
          </a:bodyPr>
          <a:lstStyle>
            <a:lvl1pPr marL="0" indent="0">
              <a:buNone/>
              <a:defRPr sz="1800" b="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31" name="Picture Placeholder 2"/>
          <p:cNvSpPr>
            <a:spLocks noGrp="1" noChangeAspect="1"/>
          </p:cNvSpPr>
          <p:nvPr>
            <p:ph type="pic" idx="22"/>
          </p:nvPr>
        </p:nvSpPr>
        <p:spPr>
          <a:xfrm>
            <a:off x="8163031" y="2603500"/>
            <a:ext cx="2691243" cy="1591510"/>
          </a:xfrm>
          <a:prstGeom prst="roundRect">
            <a:avLst>
              <a:gd name="adj" fmla="val 1858"/>
            </a:avLst>
          </a:prstGeom>
          <a:effectLst/>
        </p:spPr>
        <p:txBody>
          <a:bodyPr rtlCol="0">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pPr lvl="0"/>
            <a:r>
              <a:rPr lang="en-US" noProof="0" dirty="0"/>
              <a:t>Drag picture to placeholder or click icon to add</a:t>
            </a:r>
          </a:p>
        </p:txBody>
      </p:sp>
      <p:sp>
        <p:nvSpPr>
          <p:cNvPr id="24" name="Text Placeholder 3"/>
          <p:cNvSpPr>
            <a:spLocks noGrp="1"/>
          </p:cNvSpPr>
          <p:nvPr>
            <p:ph type="body" sz="half" idx="20"/>
          </p:nvPr>
        </p:nvSpPr>
        <p:spPr>
          <a:xfrm>
            <a:off x="7983435" y="5056411"/>
            <a:ext cx="3050437" cy="843054"/>
          </a:xfrm>
        </p:spPr>
        <p:txBody>
          <a:bodyPr>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16" name="Footer Placeholder 7">
            <a:extLst>
              <a:ext uri="{FF2B5EF4-FFF2-40B4-BE49-F238E27FC236}">
                <a16:creationId xmlns:a16="http://schemas.microsoft.com/office/drawing/2014/main" id="{BC5245BC-AF7A-EE4E-8EEF-DC4E83622E54}"/>
              </a:ext>
            </a:extLst>
          </p:cNvPr>
          <p:cNvSpPr>
            <a:spLocks noGrp="1"/>
          </p:cNvSpPr>
          <p:nvPr>
            <p:ph type="ftr" sz="quarter" idx="23"/>
          </p:nvPr>
        </p:nvSpPr>
        <p:spPr/>
        <p:txBody>
          <a:bodyPr/>
          <a:lstStyle>
            <a:lvl1pPr>
              <a:defRPr/>
            </a:lvl1pPr>
          </a:lstStyle>
          <a:p>
            <a:pPr>
              <a:defRPr/>
            </a:pPr>
            <a:endParaRPr lang="en-US"/>
          </a:p>
        </p:txBody>
      </p:sp>
    </p:spTree>
    <p:extLst>
      <p:ext uri="{BB962C8B-B14F-4D97-AF65-F5344CB8AC3E}">
        <p14:creationId xmlns:p14="http://schemas.microsoft.com/office/powerpoint/2010/main" val="21277694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5EB5756-87DA-4E20-A88D-B591C9CC1F36}" type="datetimeFigureOut">
              <a:rPr lang="en-US" smtClean="0">
                <a:solidFill>
                  <a:prstClr val="black">
                    <a:tint val="75000"/>
                  </a:prstClr>
                </a:solidFill>
              </a:rPr>
              <a:pPr/>
              <a:t>11/8/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D2E1A982-B1F1-4649-A26A-8AB1DEE5E80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6028687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17">
            <a:extLst>
              <a:ext uri="{FF2B5EF4-FFF2-40B4-BE49-F238E27FC236}">
                <a16:creationId xmlns:a16="http://schemas.microsoft.com/office/drawing/2014/main" id="{72FBF959-DBB7-7342-9466-D9BC38FF0B8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47277" y="5864227"/>
            <a:ext cx="2009775"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154954" y="973668"/>
            <a:ext cx="8825660" cy="706964"/>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7528110F-6479-6B47-9B1D-56EF3F863A34}"/>
              </a:ext>
            </a:extLst>
          </p:cNvPr>
          <p:cNvSpPr>
            <a:spLocks noGrp="1"/>
          </p:cNvSpPr>
          <p:nvPr>
            <p:ph type="ftr" sz="quarter" idx="10"/>
          </p:nvPr>
        </p:nvSpPr>
        <p:spPr/>
        <p:txBody>
          <a:bodyPr/>
          <a:lstStyle>
            <a:lvl1pPr>
              <a:defRPr/>
            </a:lvl1pPr>
          </a:lstStyle>
          <a:p>
            <a:pPr>
              <a:defRPr/>
            </a:pPr>
            <a:endParaRPr lang="en-US"/>
          </a:p>
        </p:txBody>
      </p:sp>
    </p:spTree>
    <p:extLst>
      <p:ext uri="{BB962C8B-B14F-4D97-AF65-F5344CB8AC3E}">
        <p14:creationId xmlns:p14="http://schemas.microsoft.com/office/powerpoint/2010/main" val="9616769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pSp>
        <p:nvGrpSpPr>
          <p:cNvPr id="4" name="Group 17">
            <a:extLst>
              <a:ext uri="{FF2B5EF4-FFF2-40B4-BE49-F238E27FC236}">
                <a16:creationId xmlns:a16="http://schemas.microsoft.com/office/drawing/2014/main" id="{1293B674-7697-4A4D-A776-02D4E7DCCFF4}"/>
              </a:ext>
            </a:extLst>
          </p:cNvPr>
          <p:cNvGrpSpPr>
            <a:grpSpLocks/>
          </p:cNvGrpSpPr>
          <p:nvPr/>
        </p:nvGrpSpPr>
        <p:grpSpPr bwMode="auto">
          <a:xfrm>
            <a:off x="0" y="-1588"/>
            <a:ext cx="12192000" cy="6865938"/>
            <a:chOff x="0" y="-2373"/>
            <a:chExt cx="12192000" cy="6867027"/>
          </a:xfrm>
        </p:grpSpPr>
        <p:sp>
          <p:nvSpPr>
            <p:cNvPr id="5" name="Rectangle 4">
              <a:extLst>
                <a:ext uri="{FF2B5EF4-FFF2-40B4-BE49-F238E27FC236}">
                  <a16:creationId xmlns:a16="http://schemas.microsoft.com/office/drawing/2014/main" id="{247F3D2F-B5C9-4D42-B818-D5305DAF9C64}"/>
                </a:ext>
              </a:extLst>
            </p:cNvPr>
            <p:cNvSpPr/>
            <p:nvPr/>
          </p:nvSpPr>
          <p:spPr>
            <a:xfrm>
              <a:off x="0" y="0"/>
              <a:ext cx="12192000" cy="6858000"/>
            </a:xfrm>
            <a:prstGeom prst="rect">
              <a:avLst/>
            </a:prstGeom>
            <a:blipFill>
              <a:blip r:embed="rId2">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6" name="Oval 5">
              <a:extLst>
                <a:ext uri="{FF2B5EF4-FFF2-40B4-BE49-F238E27FC236}">
                  <a16:creationId xmlns:a16="http://schemas.microsoft.com/office/drawing/2014/main" id="{F21A9A2F-A49B-624F-8ED6-AEE5C2CDCB5A}"/>
                </a:ext>
              </a:extLst>
            </p:cNvPr>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Oval 6">
              <a:extLst>
                <a:ext uri="{FF2B5EF4-FFF2-40B4-BE49-F238E27FC236}">
                  <a16:creationId xmlns:a16="http://schemas.microsoft.com/office/drawing/2014/main" id="{EC1EB0F9-3384-3C47-A113-8B46B4B606B6}"/>
                </a:ext>
              </a:extLst>
            </p:cNvPr>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Oval 7">
              <a:extLst>
                <a:ext uri="{FF2B5EF4-FFF2-40B4-BE49-F238E27FC236}">
                  <a16:creationId xmlns:a16="http://schemas.microsoft.com/office/drawing/2014/main" id="{6B3ADAFA-CFFF-F646-B6F4-FEC118FFD83E}"/>
                </a:ext>
              </a:extLst>
            </p:cNvPr>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9" name="Oval 8">
              <a:extLst>
                <a:ext uri="{FF2B5EF4-FFF2-40B4-BE49-F238E27FC236}">
                  <a16:creationId xmlns:a16="http://schemas.microsoft.com/office/drawing/2014/main" id="{0F51A8B3-173B-AD46-8C21-22D40E3E45FE}"/>
                </a:ext>
              </a:extLst>
            </p:cNvPr>
            <p:cNvSpPr/>
            <p:nvPr/>
          </p:nvSpPr>
          <p:spPr>
            <a:xfrm>
              <a:off x="7999412" y="-2373"/>
              <a:ext cx="1600200" cy="1600200"/>
            </a:xfrm>
            <a:prstGeom prst="ellipse">
              <a:avLst/>
            </a:prstGeom>
            <a:gradFill flip="none" rotWithShape="1">
              <a:gsLst>
                <a:gs pos="0">
                  <a:schemeClr val="bg2">
                    <a:lumMod val="40000"/>
                    <a:lumOff val="60000"/>
                    <a:alpha val="14000"/>
                  </a:schemeClr>
                </a:gs>
                <a:gs pos="73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0" name="Oval 9">
              <a:extLst>
                <a:ext uri="{FF2B5EF4-FFF2-40B4-BE49-F238E27FC236}">
                  <a16:creationId xmlns:a16="http://schemas.microsoft.com/office/drawing/2014/main" id="{583564B1-8FF1-314B-AD52-D473010C46FE}"/>
                </a:ext>
              </a:extLst>
            </p:cNvPr>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1" name="Freeform 5">
              <a:extLst>
                <a:ext uri="{FF2B5EF4-FFF2-40B4-BE49-F238E27FC236}">
                  <a16:creationId xmlns:a16="http://schemas.microsoft.com/office/drawing/2014/main" id="{4811D60E-EC94-2341-9C7E-F8F6ED874EF8}"/>
                </a:ext>
              </a:extLst>
            </p:cNvPr>
            <p:cNvSpPr>
              <a:spLocks/>
            </p:cNvSpPr>
            <p:nvPr/>
          </p:nvSpPr>
          <p:spPr bwMode="gray">
            <a:xfrm rot="5101749">
              <a:off x="6294738" y="4577737"/>
              <a:ext cx="3299407" cy="440924"/>
            </a:xfrm>
            <a:custGeom>
              <a:avLst/>
              <a:gdLst>
                <a:gd name="T0" fmla="*/ 9253187 w 10000"/>
                <a:gd name="T1" fmla="*/ 17583959 h 5291"/>
                <a:gd name="T2" fmla="*/ 1084036337 w 10000"/>
                <a:gd name="T3" fmla="*/ 36744278 h 5291"/>
                <a:gd name="T4" fmla="*/ 1088608655 w 10000"/>
                <a:gd name="T5" fmla="*/ 0 h 5291"/>
                <a:gd name="T6" fmla="*/ 1088608655 w 10000"/>
                <a:gd name="T7" fmla="*/ 0 h 5291"/>
                <a:gd name="T8" fmla="*/ 1052358070 w 10000"/>
                <a:gd name="T9" fmla="*/ 1416690 h 5291"/>
                <a:gd name="T10" fmla="*/ 1016107156 w 10000"/>
                <a:gd name="T11" fmla="*/ 2777880 h 5291"/>
                <a:gd name="T12" fmla="*/ 979856571 w 10000"/>
                <a:gd name="T13" fmla="*/ 4097318 h 5291"/>
                <a:gd name="T14" fmla="*/ 943497106 w 10000"/>
                <a:gd name="T15" fmla="*/ 5229337 h 5291"/>
                <a:gd name="T16" fmla="*/ 907137641 w 10000"/>
                <a:gd name="T17" fmla="*/ 6368273 h 5291"/>
                <a:gd name="T18" fmla="*/ 870778176 w 10000"/>
                <a:gd name="T19" fmla="*/ 7437707 h 5291"/>
                <a:gd name="T20" fmla="*/ 834853902 w 10000"/>
                <a:gd name="T21" fmla="*/ 8347472 h 5291"/>
                <a:gd name="T22" fmla="*/ 798276676 w 10000"/>
                <a:gd name="T23" fmla="*/ 9201736 h 5291"/>
                <a:gd name="T24" fmla="*/ 762026092 w 10000"/>
                <a:gd name="T25" fmla="*/ 10000333 h 5291"/>
                <a:gd name="T26" fmla="*/ 726428460 w 10000"/>
                <a:gd name="T27" fmla="*/ 10680928 h 5291"/>
                <a:gd name="T28" fmla="*/ 690177875 w 10000"/>
                <a:gd name="T29" fmla="*/ 11361522 h 5291"/>
                <a:gd name="T30" fmla="*/ 654580243 w 10000"/>
                <a:gd name="T31" fmla="*/ 11937865 h 5291"/>
                <a:gd name="T32" fmla="*/ 618982941 w 10000"/>
                <a:gd name="T33" fmla="*/ 12389289 h 5291"/>
                <a:gd name="T34" fmla="*/ 583385309 w 10000"/>
                <a:gd name="T35" fmla="*/ 12847630 h 5291"/>
                <a:gd name="T36" fmla="*/ 548223198 w 10000"/>
                <a:gd name="T37" fmla="*/ 13236553 h 5291"/>
                <a:gd name="T38" fmla="*/ 513496610 w 10000"/>
                <a:gd name="T39" fmla="*/ 13528225 h 5291"/>
                <a:gd name="T40" fmla="*/ 478552260 w 10000"/>
                <a:gd name="T41" fmla="*/ 13750479 h 5291"/>
                <a:gd name="T42" fmla="*/ 444043432 w 10000"/>
                <a:gd name="T43" fmla="*/ 13979649 h 5291"/>
                <a:gd name="T44" fmla="*/ 409970126 w 10000"/>
                <a:gd name="T45" fmla="*/ 14090734 h 5291"/>
                <a:gd name="T46" fmla="*/ 376005371 w 10000"/>
                <a:gd name="T47" fmla="*/ 14208820 h 5291"/>
                <a:gd name="T48" fmla="*/ 342367587 w 10000"/>
                <a:gd name="T49" fmla="*/ 14257404 h 5291"/>
                <a:gd name="T50" fmla="*/ 309056114 w 10000"/>
                <a:gd name="T51" fmla="*/ 14208820 h 5291"/>
                <a:gd name="T52" fmla="*/ 276180162 w 10000"/>
                <a:gd name="T53" fmla="*/ 14208820 h 5291"/>
                <a:gd name="T54" fmla="*/ 243630522 w 10000"/>
                <a:gd name="T55" fmla="*/ 14090734 h 5291"/>
                <a:gd name="T56" fmla="*/ 211516734 w 10000"/>
                <a:gd name="T57" fmla="*/ 13917148 h 5291"/>
                <a:gd name="T58" fmla="*/ 179947018 w 10000"/>
                <a:gd name="T59" fmla="*/ 13750479 h 5291"/>
                <a:gd name="T60" fmla="*/ 148921704 w 10000"/>
                <a:gd name="T61" fmla="*/ 13576809 h 5291"/>
                <a:gd name="T62" fmla="*/ 118114151 w 10000"/>
                <a:gd name="T63" fmla="*/ 13299055 h 5291"/>
                <a:gd name="T64" fmla="*/ 87741790 w 10000"/>
                <a:gd name="T65" fmla="*/ 13007383 h 5291"/>
                <a:gd name="T66" fmla="*/ 58022712 w 10000"/>
                <a:gd name="T67" fmla="*/ 12729628 h 5291"/>
                <a:gd name="T68" fmla="*/ 0 w 10000"/>
                <a:gd name="T69" fmla="*/ 11986533 h 5291"/>
                <a:gd name="T70" fmla="*/ 9253187 w 10000"/>
                <a:gd name="T71" fmla="*/ 17583959 h 529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000" h="5291">
                  <a:moveTo>
                    <a:pt x="85" y="2532"/>
                  </a:moveTo>
                  <a:cubicBezTo>
                    <a:pt x="1736" y="3911"/>
                    <a:pt x="7524" y="5298"/>
                    <a:pt x="9958" y="5291"/>
                  </a:cubicBezTo>
                  <a:cubicBezTo>
                    <a:pt x="9989" y="1958"/>
                    <a:pt x="9969" y="3333"/>
                    <a:pt x="10000" y="0"/>
                  </a:cubicBez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2" name="Rectangle 11">
              <a:extLst>
                <a:ext uri="{FF2B5EF4-FFF2-40B4-BE49-F238E27FC236}">
                  <a16:creationId xmlns:a16="http://schemas.microsoft.com/office/drawing/2014/main" id="{2C235355-A532-3247-8EEA-F87EB0E6E5AE}"/>
                </a:ext>
              </a:extLst>
            </p:cNvPr>
            <p:cNvSpPr/>
            <p:nvPr/>
          </p:nvSpPr>
          <p:spPr>
            <a:xfrm>
              <a:off x="414338" y="402504"/>
              <a:ext cx="6511925" cy="605409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3" name="Freeform 5">
              <a:extLst>
                <a:ext uri="{FF2B5EF4-FFF2-40B4-BE49-F238E27FC236}">
                  <a16:creationId xmlns:a16="http://schemas.microsoft.com/office/drawing/2014/main" id="{84F60496-BED4-2545-B5A4-90D1AA9D87C8}"/>
                </a:ext>
              </a:extLst>
            </p:cNvPr>
            <p:cNvSpPr>
              <a:spLocks/>
            </p:cNvSpPr>
            <p:nvPr/>
          </p:nvSpPr>
          <p:spPr bwMode="gray">
            <a:xfrm rot="5400000">
              <a:off x="4449232" y="2801721"/>
              <a:ext cx="6053670" cy="1254558"/>
            </a:xfrm>
            <a:custGeom>
              <a:avLst/>
              <a:gdLst>
                <a:gd name="T0" fmla="*/ 0 w 10000"/>
                <a:gd name="T1" fmla="*/ 0 h 8000"/>
                <a:gd name="T2" fmla="*/ 0 w 10000"/>
                <a:gd name="T3" fmla="*/ 196001635 h 8000"/>
                <a:gd name="T4" fmla="*/ 2147483646 w 10000"/>
                <a:gd name="T5" fmla="*/ 196739472 h 8000"/>
                <a:gd name="T6" fmla="*/ 2147483646 w 10000"/>
                <a:gd name="T7" fmla="*/ 172188 h 8000"/>
                <a:gd name="T8" fmla="*/ 2147483646 w 10000"/>
                <a:gd name="T9" fmla="*/ 172188 h 8000"/>
                <a:gd name="T10" fmla="*/ 2147483646 w 10000"/>
                <a:gd name="T11" fmla="*/ 3836438 h 8000"/>
                <a:gd name="T12" fmla="*/ 2147483646 w 10000"/>
                <a:gd name="T13" fmla="*/ 7328501 h 8000"/>
                <a:gd name="T14" fmla="*/ 2147483646 w 10000"/>
                <a:gd name="T15" fmla="*/ 10746857 h 8000"/>
                <a:gd name="T16" fmla="*/ 2147483646 w 10000"/>
                <a:gd name="T17" fmla="*/ 13673428 h 8000"/>
                <a:gd name="T18" fmla="*/ 2147483646 w 10000"/>
                <a:gd name="T19" fmla="*/ 16624462 h 8000"/>
                <a:gd name="T20" fmla="*/ 2147483646 w 10000"/>
                <a:gd name="T21" fmla="*/ 19378844 h 8000"/>
                <a:gd name="T22" fmla="*/ 2147483646 w 10000"/>
                <a:gd name="T23" fmla="*/ 21739765 h 8000"/>
                <a:gd name="T24" fmla="*/ 2147483646 w 10000"/>
                <a:gd name="T25" fmla="*/ 23977583 h 8000"/>
                <a:gd name="T26" fmla="*/ 2147483646 w 10000"/>
                <a:gd name="T27" fmla="*/ 26018749 h 8000"/>
                <a:gd name="T28" fmla="*/ 2147483646 w 10000"/>
                <a:gd name="T29" fmla="*/ 27789401 h 8000"/>
                <a:gd name="T30" fmla="*/ 2147483646 w 10000"/>
                <a:gd name="T31" fmla="*/ 29560052 h 8000"/>
                <a:gd name="T32" fmla="*/ 2147483646 w 10000"/>
                <a:gd name="T33" fmla="*/ 31035726 h 8000"/>
                <a:gd name="T34" fmla="*/ 2147483646 w 10000"/>
                <a:gd name="T35" fmla="*/ 32191488 h 8000"/>
                <a:gd name="T36" fmla="*/ 2147483646 w 10000"/>
                <a:gd name="T37" fmla="*/ 33396491 h 8000"/>
                <a:gd name="T38" fmla="*/ 2147483646 w 10000"/>
                <a:gd name="T39" fmla="*/ 34404842 h 8000"/>
                <a:gd name="T40" fmla="*/ 2147483646 w 10000"/>
                <a:gd name="T41" fmla="*/ 35118058 h 8000"/>
                <a:gd name="T42" fmla="*/ 2147483646 w 10000"/>
                <a:gd name="T43" fmla="*/ 35732791 h 8000"/>
                <a:gd name="T44" fmla="*/ 2147483646 w 10000"/>
                <a:gd name="T45" fmla="*/ 36323061 h 8000"/>
                <a:gd name="T46" fmla="*/ 2109030222 w 10000"/>
                <a:gd name="T47" fmla="*/ 36593575 h 8000"/>
                <a:gd name="T48" fmla="*/ 2030972384 w 10000"/>
                <a:gd name="T49" fmla="*/ 36888710 h 8000"/>
                <a:gd name="T50" fmla="*/ 1954013894 w 10000"/>
                <a:gd name="T51" fmla="*/ 37036277 h 8000"/>
                <a:gd name="T52" fmla="*/ 1877788503 w 10000"/>
                <a:gd name="T53" fmla="*/ 36888710 h 8000"/>
                <a:gd name="T54" fmla="*/ 1802295606 w 10000"/>
                <a:gd name="T55" fmla="*/ 36888710 h 8000"/>
                <a:gd name="T56" fmla="*/ 1727535808 w 10000"/>
                <a:gd name="T57" fmla="*/ 36593575 h 8000"/>
                <a:gd name="T58" fmla="*/ 1654242209 w 10000"/>
                <a:gd name="T59" fmla="*/ 36150873 h 8000"/>
                <a:gd name="T60" fmla="*/ 1581681104 w 10000"/>
                <a:gd name="T61" fmla="*/ 35732791 h 8000"/>
                <a:gd name="T62" fmla="*/ 1510586199 w 10000"/>
                <a:gd name="T63" fmla="*/ 35265625 h 8000"/>
                <a:gd name="T64" fmla="*/ 1439857540 w 10000"/>
                <a:gd name="T65" fmla="*/ 34552409 h 8000"/>
                <a:gd name="T66" fmla="*/ 1370228227 w 10000"/>
                <a:gd name="T67" fmla="*/ 33789952 h 8000"/>
                <a:gd name="T68" fmla="*/ 1302065114 w 10000"/>
                <a:gd name="T69" fmla="*/ 33101356 h 8000"/>
                <a:gd name="T70" fmla="*/ 1169036926 w 10000"/>
                <a:gd name="T71" fmla="*/ 31158673 h 8000"/>
                <a:gd name="T72" fmla="*/ 1041505471 w 10000"/>
                <a:gd name="T73" fmla="*/ 29092886 h 8000"/>
                <a:gd name="T74" fmla="*/ 919104501 w 10000"/>
                <a:gd name="T75" fmla="*/ 26928774 h 8000"/>
                <a:gd name="T76" fmla="*/ 803300216 w 10000"/>
                <a:gd name="T77" fmla="*/ 24543232 h 8000"/>
                <a:gd name="T78" fmla="*/ 692627021 w 10000"/>
                <a:gd name="T79" fmla="*/ 22059364 h 8000"/>
                <a:gd name="T80" fmla="*/ 590015498 w 10000"/>
                <a:gd name="T81" fmla="*/ 19378844 h 8000"/>
                <a:gd name="T82" fmla="*/ 493633807 w 10000"/>
                <a:gd name="T83" fmla="*/ 16747408 h 8000"/>
                <a:gd name="T84" fmla="*/ 404948753 w 10000"/>
                <a:gd name="T85" fmla="*/ 14116130 h 8000"/>
                <a:gd name="T86" fmla="*/ 323592271 w 10000"/>
                <a:gd name="T87" fmla="*/ 11632262 h 8000"/>
                <a:gd name="T88" fmla="*/ 251398018 w 10000"/>
                <a:gd name="T89" fmla="*/ 9271340 h 8000"/>
                <a:gd name="T90" fmla="*/ 186166092 w 10000"/>
                <a:gd name="T91" fmla="*/ 7033366 h 8000"/>
                <a:gd name="T92" fmla="*/ 131195742 w 10000"/>
                <a:gd name="T93" fmla="*/ 5164388 h 8000"/>
                <a:gd name="T94" fmla="*/ 85020768 w 10000"/>
                <a:gd name="T95" fmla="*/ 3393736 h 8000"/>
                <a:gd name="T96" fmla="*/ 21621893 w 10000"/>
                <a:gd name="T97" fmla="*/ 860784 h 8000"/>
                <a:gd name="T98" fmla="*/ 0 w 10000"/>
                <a:gd name="T99" fmla="*/ 0 h 8000"/>
                <a:gd name="T100" fmla="*/ 0 w 10000"/>
                <a:gd name="T101" fmla="*/ 0 h 80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000" h="8000">
                  <a:moveTo>
                    <a:pt x="0" y="0"/>
                  </a:moveTo>
                  <a:lnTo>
                    <a:pt x="0" y="7970"/>
                  </a:lnTo>
                  <a:lnTo>
                    <a:pt x="10000" y="8000"/>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4" name="Freeform 5">
              <a:extLst>
                <a:ext uri="{FF2B5EF4-FFF2-40B4-BE49-F238E27FC236}">
                  <a16:creationId xmlns:a16="http://schemas.microsoft.com/office/drawing/2014/main" id="{7D2A3D4A-0161-D141-BB91-CDF1BD9B86AC}"/>
                </a:ext>
              </a:extLst>
            </p:cNvPr>
            <p:cNvSpPr>
              <a:spLocks noEditPoints="1"/>
            </p:cNvSpPr>
            <p:nvPr/>
          </p:nvSpPr>
          <p:spPr bwMode="gray">
            <a:xfrm>
              <a:off x="0" y="1587"/>
              <a:ext cx="12192000" cy="6856413"/>
            </a:xfrm>
            <a:custGeom>
              <a:avLst/>
              <a:gdLst>
                <a:gd name="T0" fmla="*/ 0 w 15356"/>
                <a:gd name="T1" fmla="*/ 0 h 8638"/>
                <a:gd name="T2" fmla="*/ 0 w 15356"/>
                <a:gd name="T3" fmla="*/ 2147483646 h 8638"/>
                <a:gd name="T4" fmla="*/ 2147483646 w 15356"/>
                <a:gd name="T5" fmla="*/ 2147483646 h 8638"/>
                <a:gd name="T6" fmla="*/ 2147483646 w 15356"/>
                <a:gd name="T7" fmla="*/ 0 h 8638"/>
                <a:gd name="T8" fmla="*/ 0 w 15356"/>
                <a:gd name="T9" fmla="*/ 0 h 8638"/>
                <a:gd name="T10" fmla="*/ 2147483646 w 15356"/>
                <a:gd name="T11" fmla="*/ 2147483646 h 8638"/>
                <a:gd name="T12" fmla="*/ 378220357 w 15356"/>
                <a:gd name="T13" fmla="*/ 2147483646 h 8638"/>
                <a:gd name="T14" fmla="*/ 378220357 w 15356"/>
                <a:gd name="T15" fmla="*/ 372983152 h 8638"/>
                <a:gd name="T16" fmla="*/ 2147483646 w 15356"/>
                <a:gd name="T17" fmla="*/ 372983152 h 8638"/>
                <a:gd name="T18" fmla="*/ 2147483646 w 15356"/>
                <a:gd name="T19" fmla="*/ 2147483646 h 86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5" name="Rectangle 14">
            <a:extLst>
              <a:ext uri="{FF2B5EF4-FFF2-40B4-BE49-F238E27FC236}">
                <a16:creationId xmlns:a16="http://schemas.microsoft.com/office/drawing/2014/main" id="{D4D4C8B2-D1CE-3946-BDB8-77D08D8129FC}"/>
              </a:ext>
            </a:extLst>
          </p:cNvPr>
          <p:cNvSpPr/>
          <p:nvPr/>
        </p:nvSpPr>
        <p:spPr>
          <a:xfrm>
            <a:off x="10437813"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pic>
        <p:nvPicPr>
          <p:cNvPr id="16" name="Picture 35">
            <a:extLst>
              <a:ext uri="{FF2B5EF4-FFF2-40B4-BE49-F238E27FC236}">
                <a16:creationId xmlns:a16="http://schemas.microsoft.com/office/drawing/2014/main" id="{7E001E96-A7FD-2548-9C71-8620DDA159C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rot="5400000">
            <a:off x="8396289" y="3335339"/>
            <a:ext cx="48133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Vertical Title 1"/>
          <p:cNvSpPr>
            <a:spLocks noGrp="1"/>
          </p:cNvSpPr>
          <p:nvPr>
            <p:ph type="title" orient="vert"/>
          </p:nvPr>
        </p:nvSpPr>
        <p:spPr>
          <a:xfrm>
            <a:off x="8576756" y="1278468"/>
            <a:ext cx="1413933" cy="4748589"/>
          </a:xfrm>
        </p:spPr>
        <p:txBody>
          <a:bodyPr vert="eaVert" anchor="b"/>
          <a:lstStyle/>
          <a:p>
            <a:r>
              <a:rPr lang="en-US"/>
              <a:t>Click to edit Master title style</a:t>
            </a:r>
            <a:endParaRPr lang="en-US" dirty="0"/>
          </a:p>
        </p:txBody>
      </p:sp>
      <p:sp>
        <p:nvSpPr>
          <p:cNvPr id="3" name="Vertical Text Placeholder 2"/>
          <p:cNvSpPr>
            <a:spLocks noGrp="1"/>
          </p:cNvSpPr>
          <p:nvPr>
            <p:ph type="body" orient="vert" idx="1"/>
          </p:nvPr>
        </p:nvSpPr>
        <p:spPr>
          <a:xfrm>
            <a:off x="1154953" y="1278468"/>
            <a:ext cx="6247547" cy="474859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Footer Placeholder 4">
            <a:extLst>
              <a:ext uri="{FF2B5EF4-FFF2-40B4-BE49-F238E27FC236}">
                <a16:creationId xmlns:a16="http://schemas.microsoft.com/office/drawing/2014/main" id="{2ED1DDE9-880D-8240-B362-67AD8563A056}"/>
              </a:ext>
            </a:extLst>
          </p:cNvPr>
          <p:cNvSpPr>
            <a:spLocks noGrp="1"/>
          </p:cNvSpPr>
          <p:nvPr>
            <p:ph type="ftr" sz="quarter" idx="10"/>
          </p:nvPr>
        </p:nvSpPr>
        <p:spPr/>
        <p:txBody>
          <a:bodyPr/>
          <a:lstStyle>
            <a:lvl1pPr>
              <a:defRPr/>
            </a:lvl1pPr>
          </a:lstStyle>
          <a:p>
            <a:pPr>
              <a:defRPr/>
            </a:pPr>
            <a:endParaRPr lang="en-US"/>
          </a:p>
        </p:txBody>
      </p:sp>
    </p:spTree>
    <p:extLst>
      <p:ext uri="{BB962C8B-B14F-4D97-AF65-F5344CB8AC3E}">
        <p14:creationId xmlns:p14="http://schemas.microsoft.com/office/powerpoint/2010/main" val="4351166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5EB5756-87DA-4E20-A88D-B591C9CC1F36}" type="datetimeFigureOut">
              <a:rPr lang="en-US" smtClean="0">
                <a:solidFill>
                  <a:prstClr val="black">
                    <a:tint val="75000"/>
                  </a:prstClr>
                </a:solidFill>
              </a:rPr>
              <a:pPr/>
              <a:t>11/8/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2E1A982-B1F1-4649-A26A-8AB1DEE5E80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668917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D5EB5756-87DA-4E20-A88D-B591C9CC1F36}" type="datetimeFigureOut">
              <a:rPr lang="en-US" smtClean="0">
                <a:solidFill>
                  <a:prstClr val="black">
                    <a:tint val="75000"/>
                  </a:prstClr>
                </a:solidFill>
              </a:rPr>
              <a:pPr/>
              <a:t>11/8/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2E1A982-B1F1-4649-A26A-8AB1DEE5E80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981081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5183188" y="987426"/>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D5EB5756-87DA-4E20-A88D-B591C9CC1F36}" type="datetimeFigureOut">
              <a:rPr lang="en-US" smtClean="0">
                <a:solidFill>
                  <a:prstClr val="black">
                    <a:tint val="75000"/>
                  </a:prstClr>
                </a:solidFill>
              </a:rPr>
              <a:pPr/>
              <a:t>11/8/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2E1A982-B1F1-4649-A26A-8AB1DEE5E80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203758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theme" Target="../theme/theme5.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image" Target="../media/image1.jpe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D5EB5756-87DA-4E20-A88D-B591C9CC1F36}" type="datetimeFigureOut">
              <a:rPr lang="en-US" smtClean="0">
                <a:solidFill>
                  <a:prstClr val="black">
                    <a:tint val="75000"/>
                  </a:prstClr>
                </a:solidFill>
              </a:rPr>
              <a:pPr/>
              <a:t>11/8/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D2E1A982-B1F1-4649-A26A-8AB1DEE5E80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836032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233414-5B4F-4B5B-BB1E-1D3048E845D7}"/>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32C6C1B-55DA-404A-B996-4A01DABBC26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11B1C7-29C9-4A87-8F26-267570B18810}"/>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4AC2223F-814A-4C1D-BDB9-F9F23F1B01A4}" type="datetimeFigureOut">
              <a:rPr lang="en-US" smtClean="0"/>
              <a:t>11/8/23</a:t>
            </a:fld>
            <a:endParaRPr lang="en-US"/>
          </a:p>
        </p:txBody>
      </p:sp>
      <p:sp>
        <p:nvSpPr>
          <p:cNvPr id="5" name="Footer Placeholder 4">
            <a:extLst>
              <a:ext uri="{FF2B5EF4-FFF2-40B4-BE49-F238E27FC236}">
                <a16:creationId xmlns:a16="http://schemas.microsoft.com/office/drawing/2014/main" id="{5FB6DAE5-DFDB-4D5B-8170-3F31C3EEFEAA}"/>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FEF3C57-81A5-4F46-8E56-A3C8E65C8AEC}"/>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230ECDDE-EADB-4BB7-AE69-C34967C956F8}" type="slidenum">
              <a:rPr lang="en-US" smtClean="0"/>
              <a:t>‹#›</a:t>
            </a:fld>
            <a:endParaRPr lang="en-US"/>
          </a:p>
        </p:txBody>
      </p:sp>
    </p:spTree>
    <p:extLst>
      <p:ext uri="{BB962C8B-B14F-4D97-AF65-F5344CB8AC3E}">
        <p14:creationId xmlns:p14="http://schemas.microsoft.com/office/powerpoint/2010/main" val="117993043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6322"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56323"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defTabSz="457200" fontAlgn="auto">
              <a:spcBef>
                <a:spcPts val="0"/>
              </a:spcBef>
              <a:spcAft>
                <a:spcPts val="0"/>
              </a:spcAft>
              <a:defRPr sz="1200" smtClean="0">
                <a:solidFill>
                  <a:prstClr val="black">
                    <a:tint val="75000"/>
                  </a:prstClr>
                </a:solidFill>
                <a:latin typeface="Calibri"/>
                <a:ea typeface="+mn-ea"/>
                <a:cs typeface="+mn-cs"/>
              </a:defRPr>
            </a:lvl1pPr>
          </a:lstStyle>
          <a:p>
            <a:pPr>
              <a:defRPr/>
            </a:pPr>
            <a:fld id="{D34291B2-4B01-45F7-89A3-43B0B4E4AFF7}" type="datetimeFigureOut">
              <a:rPr lang="en-US">
                <a:sym typeface="Gill Sans" charset="0"/>
              </a:rPr>
              <a:pPr>
                <a:defRPr/>
              </a:pPr>
              <a:t>11/8/23</a:t>
            </a:fld>
            <a:endParaRPr lang="en-US">
              <a:sym typeface="Gill Sans" charset="0"/>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defTabSz="457200" fontAlgn="auto">
              <a:spcBef>
                <a:spcPts val="0"/>
              </a:spcBef>
              <a:spcAft>
                <a:spcPts val="0"/>
              </a:spcAft>
              <a:defRPr sz="1200">
                <a:solidFill>
                  <a:prstClr val="black">
                    <a:tint val="75000"/>
                  </a:prstClr>
                </a:solidFill>
                <a:latin typeface="Calibri"/>
                <a:ea typeface="+mn-ea"/>
                <a:cs typeface="+mn-cs"/>
              </a:defRPr>
            </a:lvl1pPr>
          </a:lstStyle>
          <a:p>
            <a:pPr>
              <a:defRPr/>
            </a:pPr>
            <a:endParaRPr lang="en-US">
              <a:sym typeface="Gill Sans" charset="0"/>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defTabSz="457200" fontAlgn="auto">
              <a:spcBef>
                <a:spcPts val="0"/>
              </a:spcBef>
              <a:spcAft>
                <a:spcPts val="0"/>
              </a:spcAft>
              <a:defRPr sz="1200" smtClean="0">
                <a:solidFill>
                  <a:prstClr val="black">
                    <a:tint val="75000"/>
                  </a:prstClr>
                </a:solidFill>
                <a:latin typeface="Calibri"/>
                <a:ea typeface="+mn-ea"/>
                <a:cs typeface="+mn-cs"/>
              </a:defRPr>
            </a:lvl1pPr>
          </a:lstStyle>
          <a:p>
            <a:pPr>
              <a:defRPr/>
            </a:pPr>
            <a:fld id="{98227C75-5B67-426C-8DCC-F213A5FA7B64}" type="slidenum">
              <a:rPr lang="en-US">
                <a:sym typeface="Gill Sans" charset="0"/>
              </a:rPr>
              <a:pPr>
                <a:defRPr/>
              </a:pPr>
              <a:t>‹#›</a:t>
            </a:fld>
            <a:endParaRPr lang="en-US">
              <a:sym typeface="Gill Sans" charset="0"/>
            </a:endParaRPr>
          </a:p>
        </p:txBody>
      </p:sp>
    </p:spTree>
    <p:extLst>
      <p:ext uri="{BB962C8B-B14F-4D97-AF65-F5344CB8AC3E}">
        <p14:creationId xmlns:p14="http://schemas.microsoft.com/office/powerpoint/2010/main" val="2082828397"/>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132" tIns="45567" rIns="91132" bIns="45567" rtlCol="0" anchor="ctr">
            <a:normAutofit/>
          </a:bodyPr>
          <a:lstStyle/>
          <a:p>
            <a:r>
              <a:rPr lang="en-US"/>
              <a:t>Click to edit Master title style</a:t>
            </a:r>
          </a:p>
        </p:txBody>
      </p:sp>
      <p:sp>
        <p:nvSpPr>
          <p:cNvPr id="3" name="Text Placeholder 2"/>
          <p:cNvSpPr>
            <a:spLocks noGrp="1"/>
          </p:cNvSpPr>
          <p:nvPr>
            <p:ph type="body" idx="1"/>
          </p:nvPr>
        </p:nvSpPr>
        <p:spPr>
          <a:xfrm>
            <a:off x="609600" y="1600228"/>
            <a:ext cx="10972800" cy="4525963"/>
          </a:xfrm>
          <a:prstGeom prst="rect">
            <a:avLst/>
          </a:prstGeom>
        </p:spPr>
        <p:txBody>
          <a:bodyPr vert="horz" lIns="91132" tIns="45567" rIns="91132" bIns="4556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400"/>
            <a:ext cx="2844800" cy="365125"/>
          </a:xfrm>
          <a:prstGeom prst="rect">
            <a:avLst/>
          </a:prstGeom>
        </p:spPr>
        <p:txBody>
          <a:bodyPr vert="horz" lIns="91132" tIns="45567" rIns="91132" bIns="45567" rtlCol="0" anchor="ctr"/>
          <a:lstStyle>
            <a:lvl1pPr algn="l">
              <a:defRPr sz="1200">
                <a:solidFill>
                  <a:schemeClr val="tx1">
                    <a:tint val="75000"/>
                  </a:schemeClr>
                </a:solidFill>
              </a:defRPr>
            </a:lvl1pPr>
          </a:lstStyle>
          <a:p>
            <a:pPr>
              <a:defRPr/>
            </a:pPr>
            <a:fld id="{E3E8CE51-A9B6-4AEA-82EF-52E380062672}" type="datetimeFigureOut">
              <a:rPr lang="en-US" smtClean="0">
                <a:solidFill>
                  <a:prstClr val="black">
                    <a:tint val="75000"/>
                  </a:prstClr>
                </a:solidFill>
              </a:rPr>
              <a:pPr>
                <a:defRPr/>
              </a:pPr>
              <a:t>11/8/23</a:t>
            </a:fld>
            <a:endParaRPr lang="en-US">
              <a:solidFill>
                <a:prstClr val="black">
                  <a:tint val="75000"/>
                </a:prstClr>
              </a:solidFill>
            </a:endParaRPr>
          </a:p>
        </p:txBody>
      </p:sp>
      <p:sp>
        <p:nvSpPr>
          <p:cNvPr id="5" name="Footer Placeholder 4"/>
          <p:cNvSpPr>
            <a:spLocks noGrp="1"/>
          </p:cNvSpPr>
          <p:nvPr>
            <p:ph type="ftr" sz="quarter" idx="3"/>
          </p:nvPr>
        </p:nvSpPr>
        <p:spPr>
          <a:xfrm>
            <a:off x="4165601" y="6356400"/>
            <a:ext cx="3860800" cy="365125"/>
          </a:xfrm>
          <a:prstGeom prst="rect">
            <a:avLst/>
          </a:prstGeom>
        </p:spPr>
        <p:txBody>
          <a:bodyPr vert="horz" lIns="91132" tIns="45567" rIns="91132" bIns="45567" rtlCol="0" anchor="ctr"/>
          <a:lstStyle>
            <a:lvl1pPr algn="ctr">
              <a:defRPr sz="1200">
                <a:solidFill>
                  <a:schemeClr val="tx1">
                    <a:tint val="75000"/>
                  </a:schemeClr>
                </a:solidFill>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400"/>
            <a:ext cx="2844800" cy="365125"/>
          </a:xfrm>
          <a:prstGeom prst="rect">
            <a:avLst/>
          </a:prstGeom>
        </p:spPr>
        <p:txBody>
          <a:bodyPr vert="horz" lIns="91132" tIns="45567" rIns="91132" bIns="45567" rtlCol="0" anchor="ctr"/>
          <a:lstStyle>
            <a:lvl1pPr algn="r">
              <a:defRPr sz="1200">
                <a:solidFill>
                  <a:schemeClr val="tx1">
                    <a:tint val="75000"/>
                  </a:schemeClr>
                </a:solidFill>
              </a:defRPr>
            </a:lvl1pPr>
          </a:lstStyle>
          <a:p>
            <a:pPr>
              <a:defRPr/>
            </a:pPr>
            <a:fld id="{4ECCAC4F-3A2B-4954-996A-50C5C84EBE96}"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80494100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ctr" defTabSz="911346" rtl="0" eaLnBrk="1" latinLnBrk="0" hangingPunct="1">
        <a:spcBef>
          <a:spcPct val="0"/>
        </a:spcBef>
        <a:buNone/>
        <a:defRPr sz="4400" kern="1200">
          <a:solidFill>
            <a:schemeClr val="tx1"/>
          </a:solidFill>
          <a:latin typeface="+mj-lt"/>
          <a:ea typeface="+mj-ea"/>
          <a:cs typeface="+mj-cs"/>
        </a:defRPr>
      </a:lvl1pPr>
    </p:titleStyle>
    <p:bodyStyle>
      <a:lvl1pPr marL="341761" indent="-341761" algn="l" defTabSz="911346"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0469" indent="-284805" algn="l" defTabSz="911346"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39189" indent="-227835" algn="l" defTabSz="911346"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4862" indent="-227835" algn="l" defTabSz="911346"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0534" indent="-227835" algn="l" defTabSz="911346"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06217" indent="-227835" algn="l" defTabSz="91134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1887" indent="-227835" algn="l" defTabSz="91134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7558" indent="-227835" algn="l" defTabSz="91134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3223" indent="-227835" algn="l" defTabSz="911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1346" rtl="0" eaLnBrk="1" latinLnBrk="0" hangingPunct="1">
        <a:defRPr sz="1800" kern="1200">
          <a:solidFill>
            <a:schemeClr val="tx1"/>
          </a:solidFill>
          <a:latin typeface="+mn-lt"/>
          <a:ea typeface="+mn-ea"/>
          <a:cs typeface="+mn-cs"/>
        </a:defRPr>
      </a:lvl1pPr>
      <a:lvl2pPr marL="455666" algn="l" defTabSz="911346" rtl="0" eaLnBrk="1" latinLnBrk="0" hangingPunct="1">
        <a:defRPr sz="1800" kern="1200">
          <a:solidFill>
            <a:schemeClr val="tx1"/>
          </a:solidFill>
          <a:latin typeface="+mn-lt"/>
          <a:ea typeface="+mn-ea"/>
          <a:cs typeface="+mn-cs"/>
        </a:defRPr>
      </a:lvl2pPr>
      <a:lvl3pPr marL="911346" algn="l" defTabSz="911346" rtl="0" eaLnBrk="1" latinLnBrk="0" hangingPunct="1">
        <a:defRPr sz="1800" kern="1200">
          <a:solidFill>
            <a:schemeClr val="tx1"/>
          </a:solidFill>
          <a:latin typeface="+mn-lt"/>
          <a:ea typeface="+mn-ea"/>
          <a:cs typeface="+mn-cs"/>
        </a:defRPr>
      </a:lvl3pPr>
      <a:lvl4pPr marL="1367018" algn="l" defTabSz="911346" rtl="0" eaLnBrk="1" latinLnBrk="0" hangingPunct="1">
        <a:defRPr sz="1800" kern="1200">
          <a:solidFill>
            <a:schemeClr val="tx1"/>
          </a:solidFill>
          <a:latin typeface="+mn-lt"/>
          <a:ea typeface="+mn-ea"/>
          <a:cs typeface="+mn-cs"/>
        </a:defRPr>
      </a:lvl4pPr>
      <a:lvl5pPr marL="1822693" algn="l" defTabSz="911346" rtl="0" eaLnBrk="1" latinLnBrk="0" hangingPunct="1">
        <a:defRPr sz="1800" kern="1200">
          <a:solidFill>
            <a:schemeClr val="tx1"/>
          </a:solidFill>
          <a:latin typeface="+mn-lt"/>
          <a:ea typeface="+mn-ea"/>
          <a:cs typeface="+mn-cs"/>
        </a:defRPr>
      </a:lvl5pPr>
      <a:lvl6pPr marL="2278380" algn="l" defTabSz="911346" rtl="0" eaLnBrk="1" latinLnBrk="0" hangingPunct="1">
        <a:defRPr sz="1800" kern="1200">
          <a:solidFill>
            <a:schemeClr val="tx1"/>
          </a:solidFill>
          <a:latin typeface="+mn-lt"/>
          <a:ea typeface="+mn-ea"/>
          <a:cs typeface="+mn-cs"/>
        </a:defRPr>
      </a:lvl6pPr>
      <a:lvl7pPr marL="2734043" algn="l" defTabSz="911346" rtl="0" eaLnBrk="1" latinLnBrk="0" hangingPunct="1">
        <a:defRPr sz="1800" kern="1200">
          <a:solidFill>
            <a:schemeClr val="tx1"/>
          </a:solidFill>
          <a:latin typeface="+mn-lt"/>
          <a:ea typeface="+mn-ea"/>
          <a:cs typeface="+mn-cs"/>
        </a:defRPr>
      </a:lvl7pPr>
      <a:lvl8pPr marL="3189719" algn="l" defTabSz="911346" rtl="0" eaLnBrk="1" latinLnBrk="0" hangingPunct="1">
        <a:defRPr sz="1800" kern="1200">
          <a:solidFill>
            <a:schemeClr val="tx1"/>
          </a:solidFill>
          <a:latin typeface="+mn-lt"/>
          <a:ea typeface="+mn-ea"/>
          <a:cs typeface="+mn-cs"/>
        </a:defRPr>
      </a:lvl8pPr>
      <a:lvl9pPr marL="3645391" algn="l" defTabSz="91134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41986" name="Group 8">
            <a:extLst>
              <a:ext uri="{FF2B5EF4-FFF2-40B4-BE49-F238E27FC236}">
                <a16:creationId xmlns:a16="http://schemas.microsoft.com/office/drawing/2014/main" id="{5DD83A10-340B-8341-AF41-C51C756578DD}"/>
              </a:ext>
            </a:extLst>
          </p:cNvPr>
          <p:cNvGrpSpPr>
            <a:grpSpLocks/>
          </p:cNvGrpSpPr>
          <p:nvPr/>
        </p:nvGrpSpPr>
        <p:grpSpPr bwMode="auto">
          <a:xfrm>
            <a:off x="0" y="0"/>
            <a:ext cx="12192000" cy="6864350"/>
            <a:chOff x="0" y="0"/>
            <a:chExt cx="12192000" cy="6864654"/>
          </a:xfrm>
        </p:grpSpPr>
        <p:sp>
          <p:nvSpPr>
            <p:cNvPr id="26" name="Rectangle 25">
              <a:extLst>
                <a:ext uri="{FF2B5EF4-FFF2-40B4-BE49-F238E27FC236}">
                  <a16:creationId xmlns:a16="http://schemas.microsoft.com/office/drawing/2014/main" id="{1B8AC40F-A7FD-374C-9AE5-E6580500D40E}"/>
                </a:ext>
              </a:extLst>
            </p:cNvPr>
            <p:cNvSpPr/>
            <p:nvPr/>
          </p:nvSpPr>
          <p:spPr>
            <a:xfrm>
              <a:off x="0" y="0"/>
              <a:ext cx="12192000" cy="6858000"/>
            </a:xfrm>
            <a:prstGeom prst="rect">
              <a:avLst/>
            </a:prstGeom>
            <a:blipFill>
              <a:blip r:embed="rId19">
                <a:duotone>
                  <a:schemeClr val="dk2">
                    <a:shade val="62000"/>
                    <a:hueMod val="108000"/>
                    <a:satMod val="164000"/>
                    <a:lumMod val="69000"/>
                  </a:schemeClr>
                  <a:schemeClr val="dk2">
                    <a:tint val="96000"/>
                    <a:hueMod val="90000"/>
                    <a:satMod val="130000"/>
                    <a:lumMod val="134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a:extLst>
                <a:ext uri="{FF2B5EF4-FFF2-40B4-BE49-F238E27FC236}">
                  <a16:creationId xmlns:a16="http://schemas.microsoft.com/office/drawing/2014/main" id="{5BB00112-716F-684F-8ADD-C1805091AB42}"/>
                </a:ext>
              </a:extLst>
            </p:cNvPr>
            <p:cNvSpPr/>
            <p:nvPr/>
          </p:nvSpPr>
          <p:spPr>
            <a:xfrm>
              <a:off x="3220" y="2667000"/>
              <a:ext cx="4191000" cy="4191000"/>
            </a:xfrm>
            <a:prstGeom prst="ellipse">
              <a:avLst/>
            </a:prstGeom>
            <a:gradFill flip="none" rotWithShape="1">
              <a:gsLst>
                <a:gs pos="0">
                  <a:schemeClr val="bg2">
                    <a:lumMod val="40000"/>
                    <a:lumOff val="60000"/>
                    <a:alpha val="11000"/>
                  </a:schemeClr>
                </a:gs>
                <a:gs pos="75000">
                  <a:schemeClr val="bg2">
                    <a:lumMod val="40000"/>
                    <a:lumOff val="60000"/>
                    <a:alpha val="0"/>
                  </a:schemeClr>
                </a:gs>
                <a:gs pos="36000">
                  <a:schemeClr val="bg2">
                    <a:lumMod val="40000"/>
                    <a:lumOff val="6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a:extLst>
                <a:ext uri="{FF2B5EF4-FFF2-40B4-BE49-F238E27FC236}">
                  <a16:creationId xmlns:a16="http://schemas.microsoft.com/office/drawing/2014/main" id="{841ED178-EF75-7244-A37C-15E88C4A5324}"/>
                </a:ext>
              </a:extLst>
            </p:cNvPr>
            <p:cNvSpPr/>
            <p:nvPr/>
          </p:nvSpPr>
          <p:spPr>
            <a:xfrm>
              <a:off x="1750" y="2895600"/>
              <a:ext cx="2362200" cy="2362200"/>
            </a:xfrm>
            <a:prstGeom prst="ellipse">
              <a:avLst/>
            </a:prstGeom>
            <a:gradFill flip="none" rotWithShape="1">
              <a:gsLst>
                <a:gs pos="0">
                  <a:schemeClr val="bg2">
                    <a:lumMod val="40000"/>
                    <a:lumOff val="60000"/>
                    <a:alpha val="8000"/>
                  </a:schemeClr>
                </a:gs>
                <a:gs pos="72000">
                  <a:schemeClr val="bg2">
                    <a:lumMod val="40000"/>
                    <a:lumOff val="60000"/>
                    <a:alpha val="0"/>
                  </a:schemeClr>
                </a:gs>
                <a:gs pos="36000">
                  <a:schemeClr val="bg2">
                    <a:lumMod val="40000"/>
                    <a:lumOff val="6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a:extLst>
                <a:ext uri="{FF2B5EF4-FFF2-40B4-BE49-F238E27FC236}">
                  <a16:creationId xmlns:a16="http://schemas.microsoft.com/office/drawing/2014/main" id="{98710922-E9DD-3340-976C-7D180FF5ED89}"/>
                </a:ext>
              </a:extLst>
            </p:cNvPr>
            <p:cNvSpPr/>
            <p:nvPr/>
          </p:nvSpPr>
          <p:spPr>
            <a:xfrm>
              <a:off x="8609012" y="1676400"/>
              <a:ext cx="2819400" cy="2819400"/>
            </a:xfrm>
            <a:prstGeom prst="ellipse">
              <a:avLst/>
            </a:prstGeom>
            <a:gradFill flip="none" rotWithShape="1">
              <a:gsLst>
                <a:gs pos="0">
                  <a:schemeClr val="bg2">
                    <a:lumMod val="40000"/>
                    <a:lumOff val="60000"/>
                    <a:alpha val="7000"/>
                  </a:schemeClr>
                </a:gs>
                <a:gs pos="69000">
                  <a:schemeClr val="bg2">
                    <a:lumMod val="40000"/>
                    <a:lumOff val="60000"/>
                    <a:alpha val="0"/>
                  </a:schemeClr>
                </a:gs>
                <a:gs pos="36000">
                  <a:schemeClr val="bg2">
                    <a:lumMod val="40000"/>
                    <a:lumOff val="6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a:extLst>
                <a:ext uri="{FF2B5EF4-FFF2-40B4-BE49-F238E27FC236}">
                  <a16:creationId xmlns:a16="http://schemas.microsoft.com/office/drawing/2014/main" id="{37CBA98E-6DDB-BB40-99D2-8AB311FBBAD9}"/>
                </a:ext>
              </a:extLst>
            </p:cNvPr>
            <p:cNvSpPr/>
            <p:nvPr/>
          </p:nvSpPr>
          <p:spPr>
            <a:xfrm>
              <a:off x="8609012" y="5874054"/>
              <a:ext cx="990600" cy="990600"/>
            </a:xfrm>
            <a:prstGeom prst="ellipse">
              <a:avLst/>
            </a:prstGeom>
            <a:gradFill flip="none" rotWithShape="1">
              <a:gsLst>
                <a:gs pos="0">
                  <a:schemeClr val="bg2">
                    <a:lumMod val="40000"/>
                    <a:lumOff val="60000"/>
                    <a:alpha val="14000"/>
                  </a:schemeClr>
                </a:gs>
                <a:gs pos="66000">
                  <a:schemeClr val="bg2">
                    <a:lumMod val="40000"/>
                    <a:lumOff val="60000"/>
                    <a:alpha val="0"/>
                  </a:schemeClr>
                </a:gs>
                <a:gs pos="36000">
                  <a:schemeClr val="bg2">
                    <a:lumMod val="40000"/>
                    <a:lumOff val="6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42006" name="Freeform 5">
              <a:extLst>
                <a:ext uri="{FF2B5EF4-FFF2-40B4-BE49-F238E27FC236}">
                  <a16:creationId xmlns:a16="http://schemas.microsoft.com/office/drawing/2014/main" id="{5A7AE4DC-16BD-1B45-B5B6-5EDE80EE1D33}"/>
                </a:ext>
              </a:extLst>
            </p:cNvPr>
            <p:cNvSpPr>
              <a:spLocks/>
            </p:cNvSpPr>
            <p:nvPr/>
          </p:nvSpPr>
          <p:spPr bwMode="gray">
            <a:xfrm rot="-589932">
              <a:off x="8490951" y="1797517"/>
              <a:ext cx="3299407" cy="440924"/>
            </a:xfrm>
            <a:custGeom>
              <a:avLst/>
              <a:gdLst>
                <a:gd name="T0" fmla="*/ 9253187 w 10000"/>
                <a:gd name="T1" fmla="*/ 17583959 h 5291"/>
                <a:gd name="T2" fmla="*/ 1084036337 w 10000"/>
                <a:gd name="T3" fmla="*/ 36744278 h 5291"/>
                <a:gd name="T4" fmla="*/ 1088608655 w 10000"/>
                <a:gd name="T5" fmla="*/ 0 h 5291"/>
                <a:gd name="T6" fmla="*/ 1088608655 w 10000"/>
                <a:gd name="T7" fmla="*/ 0 h 5291"/>
                <a:gd name="T8" fmla="*/ 1052358070 w 10000"/>
                <a:gd name="T9" fmla="*/ 1416690 h 5291"/>
                <a:gd name="T10" fmla="*/ 1016107156 w 10000"/>
                <a:gd name="T11" fmla="*/ 2777880 h 5291"/>
                <a:gd name="T12" fmla="*/ 979856571 w 10000"/>
                <a:gd name="T13" fmla="*/ 4097318 h 5291"/>
                <a:gd name="T14" fmla="*/ 943497106 w 10000"/>
                <a:gd name="T15" fmla="*/ 5229337 h 5291"/>
                <a:gd name="T16" fmla="*/ 907137641 w 10000"/>
                <a:gd name="T17" fmla="*/ 6368273 h 5291"/>
                <a:gd name="T18" fmla="*/ 870778176 w 10000"/>
                <a:gd name="T19" fmla="*/ 7437707 h 5291"/>
                <a:gd name="T20" fmla="*/ 834853902 w 10000"/>
                <a:gd name="T21" fmla="*/ 8347472 h 5291"/>
                <a:gd name="T22" fmla="*/ 798276676 w 10000"/>
                <a:gd name="T23" fmla="*/ 9201736 h 5291"/>
                <a:gd name="T24" fmla="*/ 762026092 w 10000"/>
                <a:gd name="T25" fmla="*/ 10000333 h 5291"/>
                <a:gd name="T26" fmla="*/ 726428460 w 10000"/>
                <a:gd name="T27" fmla="*/ 10680928 h 5291"/>
                <a:gd name="T28" fmla="*/ 690177875 w 10000"/>
                <a:gd name="T29" fmla="*/ 11361522 h 5291"/>
                <a:gd name="T30" fmla="*/ 654580243 w 10000"/>
                <a:gd name="T31" fmla="*/ 11937865 h 5291"/>
                <a:gd name="T32" fmla="*/ 618982941 w 10000"/>
                <a:gd name="T33" fmla="*/ 12389289 h 5291"/>
                <a:gd name="T34" fmla="*/ 583385309 w 10000"/>
                <a:gd name="T35" fmla="*/ 12847630 h 5291"/>
                <a:gd name="T36" fmla="*/ 548223198 w 10000"/>
                <a:gd name="T37" fmla="*/ 13236553 h 5291"/>
                <a:gd name="T38" fmla="*/ 513496610 w 10000"/>
                <a:gd name="T39" fmla="*/ 13528225 h 5291"/>
                <a:gd name="T40" fmla="*/ 478552260 w 10000"/>
                <a:gd name="T41" fmla="*/ 13750479 h 5291"/>
                <a:gd name="T42" fmla="*/ 444043432 w 10000"/>
                <a:gd name="T43" fmla="*/ 13979649 h 5291"/>
                <a:gd name="T44" fmla="*/ 409970126 w 10000"/>
                <a:gd name="T45" fmla="*/ 14090734 h 5291"/>
                <a:gd name="T46" fmla="*/ 376005371 w 10000"/>
                <a:gd name="T47" fmla="*/ 14208820 h 5291"/>
                <a:gd name="T48" fmla="*/ 342367587 w 10000"/>
                <a:gd name="T49" fmla="*/ 14257404 h 5291"/>
                <a:gd name="T50" fmla="*/ 309056114 w 10000"/>
                <a:gd name="T51" fmla="*/ 14208820 h 5291"/>
                <a:gd name="T52" fmla="*/ 276180162 w 10000"/>
                <a:gd name="T53" fmla="*/ 14208820 h 5291"/>
                <a:gd name="T54" fmla="*/ 243630522 w 10000"/>
                <a:gd name="T55" fmla="*/ 14090734 h 5291"/>
                <a:gd name="T56" fmla="*/ 211516734 w 10000"/>
                <a:gd name="T57" fmla="*/ 13917148 h 5291"/>
                <a:gd name="T58" fmla="*/ 179947018 w 10000"/>
                <a:gd name="T59" fmla="*/ 13750479 h 5291"/>
                <a:gd name="T60" fmla="*/ 148921704 w 10000"/>
                <a:gd name="T61" fmla="*/ 13576809 h 5291"/>
                <a:gd name="T62" fmla="*/ 118114151 w 10000"/>
                <a:gd name="T63" fmla="*/ 13299055 h 5291"/>
                <a:gd name="T64" fmla="*/ 87741790 w 10000"/>
                <a:gd name="T65" fmla="*/ 13007383 h 5291"/>
                <a:gd name="T66" fmla="*/ 58022712 w 10000"/>
                <a:gd name="T67" fmla="*/ 12729628 h 5291"/>
                <a:gd name="T68" fmla="*/ 0 w 10000"/>
                <a:gd name="T69" fmla="*/ 11986533 h 5291"/>
                <a:gd name="T70" fmla="*/ 9253187 w 10000"/>
                <a:gd name="T71" fmla="*/ 17583959 h 529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000" h="5291">
                  <a:moveTo>
                    <a:pt x="85" y="2532"/>
                  </a:moveTo>
                  <a:cubicBezTo>
                    <a:pt x="1736" y="3911"/>
                    <a:pt x="7524" y="5298"/>
                    <a:pt x="9958" y="5291"/>
                  </a:cubicBezTo>
                  <a:cubicBezTo>
                    <a:pt x="9989" y="1958"/>
                    <a:pt x="9969" y="3333"/>
                    <a:pt x="10000" y="0"/>
                  </a:cubicBez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42007" name="Freeform 5">
              <a:extLst>
                <a:ext uri="{FF2B5EF4-FFF2-40B4-BE49-F238E27FC236}">
                  <a16:creationId xmlns:a16="http://schemas.microsoft.com/office/drawing/2014/main" id="{7859F467-9E08-504A-9838-5EC0D3BE0274}"/>
                </a:ext>
              </a:extLst>
            </p:cNvPr>
            <p:cNvSpPr>
              <a:spLocks/>
            </p:cNvSpPr>
            <p:nvPr/>
          </p:nvSpPr>
          <p:spPr bwMode="gray">
            <a:xfrm>
              <a:off x="459506" y="1866405"/>
              <a:ext cx="11277600" cy="4533900"/>
            </a:xfrm>
            <a:custGeom>
              <a:avLst/>
              <a:gdLst>
                <a:gd name="T0" fmla="*/ 0 w 7104"/>
                <a:gd name="T1" fmla="*/ 0 h 2856"/>
                <a:gd name="T2" fmla="*/ 0 w 7104"/>
                <a:gd name="T3" fmla="*/ 2147483646 h 2856"/>
                <a:gd name="T4" fmla="*/ 2147483646 w 7104"/>
                <a:gd name="T5" fmla="*/ 2147483646 h 2856"/>
                <a:gd name="T6" fmla="*/ 2147483646 w 7104"/>
                <a:gd name="T7" fmla="*/ 2520950 h 2856"/>
                <a:gd name="T8" fmla="*/ 2147483646 w 7104"/>
                <a:gd name="T9" fmla="*/ 2520950 h 2856"/>
                <a:gd name="T10" fmla="*/ 2147483646 w 7104"/>
                <a:gd name="T11" fmla="*/ 65524063 h 2856"/>
                <a:gd name="T12" fmla="*/ 2147483646 w 7104"/>
                <a:gd name="T13" fmla="*/ 126007813 h 2856"/>
                <a:gd name="T14" fmla="*/ 2147483646 w 7104"/>
                <a:gd name="T15" fmla="*/ 183972200 h 2856"/>
                <a:gd name="T16" fmla="*/ 2147483646 w 7104"/>
                <a:gd name="T17" fmla="*/ 234375325 h 2856"/>
                <a:gd name="T18" fmla="*/ 2147483646 w 7104"/>
                <a:gd name="T19" fmla="*/ 284778450 h 2856"/>
                <a:gd name="T20" fmla="*/ 2147483646 w 7104"/>
                <a:gd name="T21" fmla="*/ 332660625 h 2856"/>
                <a:gd name="T22" fmla="*/ 2147483646 w 7104"/>
                <a:gd name="T23" fmla="*/ 372983125 h 2856"/>
                <a:gd name="T24" fmla="*/ 2147483646 w 7104"/>
                <a:gd name="T25" fmla="*/ 410786263 h 2856"/>
                <a:gd name="T26" fmla="*/ 2147483646 w 7104"/>
                <a:gd name="T27" fmla="*/ 446068450 h 2856"/>
                <a:gd name="T28" fmla="*/ 2147483646 w 7104"/>
                <a:gd name="T29" fmla="*/ 476310325 h 2856"/>
                <a:gd name="T30" fmla="*/ 2147483646 w 7104"/>
                <a:gd name="T31" fmla="*/ 506552200 h 2856"/>
                <a:gd name="T32" fmla="*/ 2147483646 w 7104"/>
                <a:gd name="T33" fmla="*/ 531753763 h 2856"/>
                <a:gd name="T34" fmla="*/ 2147483646 w 7104"/>
                <a:gd name="T35" fmla="*/ 551915013 h 2856"/>
                <a:gd name="T36" fmla="*/ 2147483646 w 7104"/>
                <a:gd name="T37" fmla="*/ 572076263 h 2856"/>
                <a:gd name="T38" fmla="*/ 2147483646 w 7104"/>
                <a:gd name="T39" fmla="*/ 589716563 h 2856"/>
                <a:gd name="T40" fmla="*/ 2147483646 w 7104"/>
                <a:gd name="T41" fmla="*/ 602318138 h 2856"/>
                <a:gd name="T42" fmla="*/ 2147483646 w 7104"/>
                <a:gd name="T43" fmla="*/ 612398763 h 2856"/>
                <a:gd name="T44" fmla="*/ 2147483646 w 7104"/>
                <a:gd name="T45" fmla="*/ 622479388 h 2856"/>
                <a:gd name="T46" fmla="*/ 2147483646 w 7104"/>
                <a:gd name="T47" fmla="*/ 627519700 h 2856"/>
                <a:gd name="T48" fmla="*/ 2147483646 w 7104"/>
                <a:gd name="T49" fmla="*/ 632560013 h 2856"/>
                <a:gd name="T50" fmla="*/ 2147483646 w 7104"/>
                <a:gd name="T51" fmla="*/ 635079375 h 2856"/>
                <a:gd name="T52" fmla="*/ 2147483646 w 7104"/>
                <a:gd name="T53" fmla="*/ 632560013 h 2856"/>
                <a:gd name="T54" fmla="*/ 2147483646 w 7104"/>
                <a:gd name="T55" fmla="*/ 632560013 h 2856"/>
                <a:gd name="T56" fmla="*/ 2147483646 w 7104"/>
                <a:gd name="T57" fmla="*/ 627519700 h 2856"/>
                <a:gd name="T58" fmla="*/ 2147483646 w 7104"/>
                <a:gd name="T59" fmla="*/ 619958438 h 2856"/>
                <a:gd name="T60" fmla="*/ 2147483646 w 7104"/>
                <a:gd name="T61" fmla="*/ 612398763 h 2856"/>
                <a:gd name="T62" fmla="*/ 2147483646 w 7104"/>
                <a:gd name="T63" fmla="*/ 604837500 h 2856"/>
                <a:gd name="T64" fmla="*/ 2147483646 w 7104"/>
                <a:gd name="T65" fmla="*/ 592237513 h 2856"/>
                <a:gd name="T66" fmla="*/ 2147483646 w 7104"/>
                <a:gd name="T67" fmla="*/ 579635938 h 2856"/>
                <a:gd name="T68" fmla="*/ 2147483646 w 7104"/>
                <a:gd name="T69" fmla="*/ 567035950 h 2856"/>
                <a:gd name="T70" fmla="*/ 2147483646 w 7104"/>
                <a:gd name="T71" fmla="*/ 534273125 h 2856"/>
                <a:gd name="T72" fmla="*/ 2147483646 w 7104"/>
                <a:gd name="T73" fmla="*/ 498990938 h 2856"/>
                <a:gd name="T74" fmla="*/ 2147483646 w 7104"/>
                <a:gd name="T75" fmla="*/ 461189388 h 2856"/>
                <a:gd name="T76" fmla="*/ 2147483646 w 7104"/>
                <a:gd name="T77" fmla="*/ 420866888 h 2856"/>
                <a:gd name="T78" fmla="*/ 2147483646 w 7104"/>
                <a:gd name="T79" fmla="*/ 378023438 h 2856"/>
                <a:gd name="T80" fmla="*/ 2147483646 w 7104"/>
                <a:gd name="T81" fmla="*/ 332660625 h 2856"/>
                <a:gd name="T82" fmla="*/ 2147483646 w 7104"/>
                <a:gd name="T83" fmla="*/ 287297813 h 2856"/>
                <a:gd name="T84" fmla="*/ 1978323450 w 7104"/>
                <a:gd name="T85" fmla="*/ 241935000 h 2856"/>
                <a:gd name="T86" fmla="*/ 1580138763 w 7104"/>
                <a:gd name="T87" fmla="*/ 199093138 h 2856"/>
                <a:gd name="T88" fmla="*/ 1227316888 w 7104"/>
                <a:gd name="T89" fmla="*/ 158770638 h 2856"/>
                <a:gd name="T90" fmla="*/ 909777200 w 7104"/>
                <a:gd name="T91" fmla="*/ 120967500 h 2856"/>
                <a:gd name="T92" fmla="*/ 640119688 w 7104"/>
                <a:gd name="T93" fmla="*/ 88206263 h 2856"/>
                <a:gd name="T94" fmla="*/ 415826575 w 7104"/>
                <a:gd name="T95" fmla="*/ 57964388 h 2856"/>
                <a:gd name="T96" fmla="*/ 105846563 w 7104"/>
                <a:gd name="T97" fmla="*/ 15120938 h 2856"/>
                <a:gd name="T98" fmla="*/ 0 w 7104"/>
                <a:gd name="T99" fmla="*/ 0 h 2856"/>
                <a:gd name="T100" fmla="*/ 0 w 7104"/>
                <a:gd name="T101" fmla="*/ 0 h 28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104" h="2856">
                  <a:moveTo>
                    <a:pt x="0" y="0"/>
                  </a:moveTo>
                  <a:lnTo>
                    <a:pt x="0" y="2856"/>
                  </a:lnTo>
                  <a:lnTo>
                    <a:pt x="7104" y="2856"/>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42008" name="Freeform 5">
              <a:extLst>
                <a:ext uri="{FF2B5EF4-FFF2-40B4-BE49-F238E27FC236}">
                  <a16:creationId xmlns:a16="http://schemas.microsoft.com/office/drawing/2014/main" id="{F8C6CB17-1825-C04D-908A-8C72BA9DC646}"/>
                </a:ext>
              </a:extLst>
            </p:cNvPr>
            <p:cNvSpPr>
              <a:spLocks noEditPoints="1"/>
            </p:cNvSpPr>
            <p:nvPr/>
          </p:nvSpPr>
          <p:spPr bwMode="gray">
            <a:xfrm>
              <a:off x="0" y="1587"/>
              <a:ext cx="12192000" cy="6856413"/>
            </a:xfrm>
            <a:custGeom>
              <a:avLst/>
              <a:gdLst>
                <a:gd name="T0" fmla="*/ 0 w 15356"/>
                <a:gd name="T1" fmla="*/ 0 h 8638"/>
                <a:gd name="T2" fmla="*/ 0 w 15356"/>
                <a:gd name="T3" fmla="*/ 2147483646 h 8638"/>
                <a:gd name="T4" fmla="*/ 2147483646 w 15356"/>
                <a:gd name="T5" fmla="*/ 2147483646 h 8638"/>
                <a:gd name="T6" fmla="*/ 2147483646 w 15356"/>
                <a:gd name="T7" fmla="*/ 0 h 8638"/>
                <a:gd name="T8" fmla="*/ 0 w 15356"/>
                <a:gd name="T9" fmla="*/ 0 h 8638"/>
                <a:gd name="T10" fmla="*/ 2147483646 w 15356"/>
                <a:gd name="T11" fmla="*/ 2147483646 h 8638"/>
                <a:gd name="T12" fmla="*/ 378220357 w 15356"/>
                <a:gd name="T13" fmla="*/ 2147483646 h 8638"/>
                <a:gd name="T14" fmla="*/ 378220357 w 15356"/>
                <a:gd name="T15" fmla="*/ 372983152 h 8638"/>
                <a:gd name="T16" fmla="*/ 2147483646 w 15356"/>
                <a:gd name="T17" fmla="*/ 372983152 h 8638"/>
                <a:gd name="T18" fmla="*/ 2147483646 w 15356"/>
                <a:gd name="T19" fmla="*/ 2147483646 h 86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41987" name="Title Placeholder 1">
            <a:extLst>
              <a:ext uri="{FF2B5EF4-FFF2-40B4-BE49-F238E27FC236}">
                <a16:creationId xmlns:a16="http://schemas.microsoft.com/office/drawing/2014/main" id="{64F5D245-D187-694F-A094-8CD1165980F4}"/>
              </a:ext>
            </a:extLst>
          </p:cNvPr>
          <p:cNvSpPr>
            <a:spLocks noGrp="1" noChangeArrowheads="1"/>
          </p:cNvSpPr>
          <p:nvPr>
            <p:ph type="title"/>
          </p:nvPr>
        </p:nvSpPr>
        <p:spPr bwMode="gray">
          <a:xfrm>
            <a:off x="1155700" y="973140"/>
            <a:ext cx="8761413"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1988" name="Text Placeholder 2">
            <a:extLst>
              <a:ext uri="{FF2B5EF4-FFF2-40B4-BE49-F238E27FC236}">
                <a16:creationId xmlns:a16="http://schemas.microsoft.com/office/drawing/2014/main" id="{B1B0A152-2C5F-6943-B7A3-FB8AD982EB9D}"/>
              </a:ext>
            </a:extLst>
          </p:cNvPr>
          <p:cNvSpPr>
            <a:spLocks noGrp="1" noChangeArrowheads="1"/>
          </p:cNvSpPr>
          <p:nvPr>
            <p:ph type="body" idx="1"/>
          </p:nvPr>
        </p:nvSpPr>
        <p:spPr bwMode="auto">
          <a:xfrm>
            <a:off x="1155700" y="2603500"/>
            <a:ext cx="8761413" cy="341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5" name="Footer Placeholder 4">
            <a:extLst>
              <a:ext uri="{FF2B5EF4-FFF2-40B4-BE49-F238E27FC236}">
                <a16:creationId xmlns:a16="http://schemas.microsoft.com/office/drawing/2014/main" id="{A1084664-2740-BC4D-B3BB-B692DD8D7833}"/>
              </a:ext>
            </a:extLst>
          </p:cNvPr>
          <p:cNvSpPr>
            <a:spLocks noGrp="1"/>
          </p:cNvSpPr>
          <p:nvPr>
            <p:ph type="ftr" sz="quarter" idx="3"/>
          </p:nvPr>
        </p:nvSpPr>
        <p:spPr>
          <a:xfrm>
            <a:off x="528639" y="6391275"/>
            <a:ext cx="3859212" cy="304800"/>
          </a:xfrm>
          <a:prstGeom prst="rect">
            <a:avLst/>
          </a:prstGeom>
          <a:effectLst/>
        </p:spPr>
        <p:txBody>
          <a:bodyPr vert="horz" lIns="91440" tIns="45720" rIns="91440" bIns="45720" rtlCol="0" anchor="b"/>
          <a:lstStyle>
            <a:lvl1pPr algn="l">
              <a:defRPr sz="750" b="1" i="0">
                <a:solidFill>
                  <a:schemeClr val="accent1"/>
                </a:solidFill>
                <a:latin typeface="+mn-lt"/>
              </a:defRPr>
            </a:lvl1pPr>
          </a:lstStyle>
          <a:p>
            <a:pPr>
              <a:defRPr/>
            </a:pPr>
            <a:endParaRPr lang="en-US"/>
          </a:p>
        </p:txBody>
      </p:sp>
      <p:sp>
        <p:nvSpPr>
          <p:cNvPr id="22" name="Rectangle 21">
            <a:extLst>
              <a:ext uri="{FF2B5EF4-FFF2-40B4-BE49-F238E27FC236}">
                <a16:creationId xmlns:a16="http://schemas.microsoft.com/office/drawing/2014/main" id="{44F6D607-57BC-1C49-9B81-D286C34E0FEF}"/>
              </a:ext>
            </a:extLst>
          </p:cNvPr>
          <p:cNvSpPr/>
          <p:nvPr/>
        </p:nvSpPr>
        <p:spPr>
          <a:xfrm>
            <a:off x="10437813"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1500209899"/>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Lst>
  <p:txStyles>
    <p:titleStyle>
      <a:lvl1pPr algn="l" defTabSz="342900" rtl="0" eaLnBrk="0" fontAlgn="base" hangingPunct="0">
        <a:spcBef>
          <a:spcPct val="0"/>
        </a:spcBef>
        <a:spcAft>
          <a:spcPct val="0"/>
        </a:spcAft>
        <a:defRPr sz="2700" kern="1200">
          <a:solidFill>
            <a:schemeClr val="bg2"/>
          </a:solidFill>
          <a:latin typeface="+mj-lt"/>
          <a:ea typeface="+mj-ea"/>
          <a:cs typeface="+mj-cs"/>
        </a:defRPr>
      </a:lvl1pPr>
      <a:lvl2pPr algn="l" defTabSz="342900" rtl="0" eaLnBrk="0" fontAlgn="base" hangingPunct="0">
        <a:spcBef>
          <a:spcPct val="0"/>
        </a:spcBef>
        <a:spcAft>
          <a:spcPct val="0"/>
        </a:spcAft>
        <a:defRPr sz="2700">
          <a:solidFill>
            <a:schemeClr val="bg2"/>
          </a:solidFill>
          <a:latin typeface="Century Gothic" panose="020B0502020202020204" pitchFamily="34" charset="0"/>
        </a:defRPr>
      </a:lvl2pPr>
      <a:lvl3pPr algn="l" defTabSz="342900" rtl="0" eaLnBrk="0" fontAlgn="base" hangingPunct="0">
        <a:spcBef>
          <a:spcPct val="0"/>
        </a:spcBef>
        <a:spcAft>
          <a:spcPct val="0"/>
        </a:spcAft>
        <a:defRPr sz="2700">
          <a:solidFill>
            <a:schemeClr val="bg2"/>
          </a:solidFill>
          <a:latin typeface="Century Gothic" panose="020B0502020202020204" pitchFamily="34" charset="0"/>
        </a:defRPr>
      </a:lvl3pPr>
      <a:lvl4pPr algn="l" defTabSz="342900" rtl="0" eaLnBrk="0" fontAlgn="base" hangingPunct="0">
        <a:spcBef>
          <a:spcPct val="0"/>
        </a:spcBef>
        <a:spcAft>
          <a:spcPct val="0"/>
        </a:spcAft>
        <a:defRPr sz="2700">
          <a:solidFill>
            <a:schemeClr val="bg2"/>
          </a:solidFill>
          <a:latin typeface="Century Gothic" panose="020B0502020202020204" pitchFamily="34" charset="0"/>
        </a:defRPr>
      </a:lvl4pPr>
      <a:lvl5pPr algn="l" defTabSz="342900" rtl="0" eaLnBrk="0" fontAlgn="base" hangingPunct="0">
        <a:spcBef>
          <a:spcPct val="0"/>
        </a:spcBef>
        <a:spcAft>
          <a:spcPct val="0"/>
        </a:spcAft>
        <a:defRPr sz="2700">
          <a:solidFill>
            <a:schemeClr val="bg2"/>
          </a:solidFill>
          <a:latin typeface="Century Gothic" panose="020B0502020202020204" pitchFamily="34" charset="0"/>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57175" indent="-257175" algn="l" defTabSz="342900" rtl="0" eaLnBrk="0" fontAlgn="base" hangingPunct="0">
        <a:spcBef>
          <a:spcPts val="750"/>
        </a:spcBef>
        <a:spcAft>
          <a:spcPct val="0"/>
        </a:spcAft>
        <a:buClr>
          <a:schemeClr val="accent1"/>
        </a:buClr>
        <a:buSzPct val="80000"/>
        <a:buFont typeface="Wingdings 3" pitchFamily="2" charset="2"/>
        <a:buChar char=""/>
        <a:defRPr kern="1200">
          <a:solidFill>
            <a:srgbClr val="404040"/>
          </a:solidFill>
          <a:latin typeface="+mn-lt"/>
          <a:ea typeface="+mn-ea"/>
          <a:cs typeface="+mn-cs"/>
        </a:defRPr>
      </a:lvl1pPr>
      <a:lvl2pPr marL="557213" indent="-214313" algn="l" defTabSz="342900" rtl="0" eaLnBrk="0" fontAlgn="base" hangingPunct="0">
        <a:spcBef>
          <a:spcPts val="750"/>
        </a:spcBef>
        <a:spcAft>
          <a:spcPct val="0"/>
        </a:spcAft>
        <a:buClr>
          <a:schemeClr val="accent1"/>
        </a:buClr>
        <a:buSzPct val="80000"/>
        <a:buFont typeface="Wingdings 3" pitchFamily="2" charset="2"/>
        <a:buChar char=""/>
        <a:defRPr sz="1200" kern="1200">
          <a:solidFill>
            <a:srgbClr val="404040"/>
          </a:solidFill>
          <a:latin typeface="+mn-lt"/>
          <a:ea typeface="+mn-ea"/>
          <a:cs typeface="+mn-cs"/>
        </a:defRPr>
      </a:lvl2pPr>
      <a:lvl3pPr marL="857250" indent="-171450" algn="l" defTabSz="342900" rtl="0" eaLnBrk="0" fontAlgn="base" hangingPunct="0">
        <a:spcBef>
          <a:spcPts val="750"/>
        </a:spcBef>
        <a:spcAft>
          <a:spcPct val="0"/>
        </a:spcAft>
        <a:buClr>
          <a:schemeClr val="accent1"/>
        </a:buClr>
        <a:buSzPct val="80000"/>
        <a:buFont typeface="Wingdings 3" pitchFamily="2" charset="2"/>
        <a:buChar char=""/>
        <a:defRPr sz="1050" kern="1200">
          <a:solidFill>
            <a:srgbClr val="404040"/>
          </a:solidFill>
          <a:latin typeface="+mn-lt"/>
          <a:ea typeface="+mn-ea"/>
          <a:cs typeface="+mn-cs"/>
        </a:defRPr>
      </a:lvl3pPr>
      <a:lvl4pPr marL="1200150" indent="-171450" algn="l" defTabSz="342900" rtl="0" eaLnBrk="0" fontAlgn="base" hangingPunct="0">
        <a:spcBef>
          <a:spcPts val="750"/>
        </a:spcBef>
        <a:spcAft>
          <a:spcPct val="0"/>
        </a:spcAft>
        <a:buClr>
          <a:schemeClr val="accent1"/>
        </a:buClr>
        <a:buSzPct val="80000"/>
        <a:buFont typeface="Wingdings 3" pitchFamily="2" charset="2"/>
        <a:buChar char=""/>
        <a:defRPr sz="900" kern="1200">
          <a:solidFill>
            <a:srgbClr val="404040"/>
          </a:solidFill>
          <a:latin typeface="+mn-lt"/>
          <a:ea typeface="+mn-ea"/>
          <a:cs typeface="+mn-cs"/>
        </a:defRPr>
      </a:lvl4pPr>
      <a:lvl5pPr marL="1543050" indent="-171450" algn="l" defTabSz="342900" rtl="0" eaLnBrk="0" fontAlgn="base" hangingPunct="0">
        <a:spcBef>
          <a:spcPts val="750"/>
        </a:spcBef>
        <a:spcAft>
          <a:spcPct val="0"/>
        </a:spcAft>
        <a:buClr>
          <a:schemeClr val="accent1"/>
        </a:buClr>
        <a:buSzPct val="80000"/>
        <a:buFont typeface="Wingdings 3" pitchFamily="2" charset="2"/>
        <a:buChar char=""/>
        <a:defRPr sz="900" kern="1200">
          <a:solidFill>
            <a:srgbClr val="404040"/>
          </a:solidFill>
          <a:latin typeface="+mn-lt"/>
          <a:ea typeface="+mn-ea"/>
          <a:cs typeface="+mn-cs"/>
        </a:defRPr>
      </a:lvl5pPr>
      <a:lvl6pPr marL="1885950" indent="-171450" algn="l" defTabSz="342900" rtl="0" eaLnBrk="1" latinLnBrk="0" hangingPunct="1">
        <a:spcBef>
          <a:spcPts val="750"/>
        </a:spcBef>
        <a:spcAft>
          <a:spcPts val="0"/>
        </a:spcAft>
        <a:buClr>
          <a:schemeClr val="accent1"/>
        </a:buClr>
        <a:buSzPct val="80000"/>
        <a:buFont typeface="Wingdings 3" charset="2"/>
        <a:buChar char=""/>
        <a:defRPr sz="900" b="0" i="0" kern="1200">
          <a:solidFill>
            <a:schemeClr val="tx1">
              <a:lumMod val="75000"/>
              <a:lumOff val="25000"/>
            </a:schemeClr>
          </a:solidFill>
          <a:latin typeface="+mn-lt"/>
          <a:ea typeface="+mn-ea"/>
          <a:cs typeface="+mn-cs"/>
        </a:defRPr>
      </a:lvl6pPr>
      <a:lvl7pPr marL="2228850" indent="-171450" algn="l" defTabSz="342900" rtl="0" eaLnBrk="1" latinLnBrk="0" hangingPunct="1">
        <a:spcBef>
          <a:spcPts val="750"/>
        </a:spcBef>
        <a:spcAft>
          <a:spcPts val="0"/>
        </a:spcAft>
        <a:buClr>
          <a:schemeClr val="accent1"/>
        </a:buClr>
        <a:buSzPct val="80000"/>
        <a:buFont typeface="Wingdings 3" charset="2"/>
        <a:buChar char=""/>
        <a:defRPr sz="900" b="0" i="0" kern="1200">
          <a:solidFill>
            <a:schemeClr val="tx1">
              <a:lumMod val="75000"/>
              <a:lumOff val="25000"/>
            </a:schemeClr>
          </a:solidFill>
          <a:latin typeface="+mn-lt"/>
          <a:ea typeface="+mn-ea"/>
          <a:cs typeface="+mn-cs"/>
        </a:defRPr>
      </a:lvl7pPr>
      <a:lvl8pPr marL="2571750" indent="-171450" algn="l" defTabSz="342900" rtl="0" eaLnBrk="1" latinLnBrk="0" hangingPunct="1">
        <a:spcBef>
          <a:spcPts val="750"/>
        </a:spcBef>
        <a:spcAft>
          <a:spcPts val="0"/>
        </a:spcAft>
        <a:buClr>
          <a:schemeClr val="accent1"/>
        </a:buClr>
        <a:buSzPct val="80000"/>
        <a:buFont typeface="Wingdings 3" charset="2"/>
        <a:buChar char=""/>
        <a:defRPr sz="900" b="0" i="0" kern="1200">
          <a:solidFill>
            <a:schemeClr val="tx1">
              <a:lumMod val="75000"/>
              <a:lumOff val="25000"/>
            </a:schemeClr>
          </a:solidFill>
          <a:latin typeface="+mn-lt"/>
          <a:ea typeface="+mn-ea"/>
          <a:cs typeface="+mn-cs"/>
        </a:defRPr>
      </a:lvl8pPr>
      <a:lvl9pPr marL="2914650" indent="-171450" algn="l" defTabSz="342900" rtl="0" eaLnBrk="1" latinLnBrk="0" hangingPunct="1">
        <a:spcBef>
          <a:spcPts val="750"/>
        </a:spcBef>
        <a:spcAft>
          <a:spcPts val="0"/>
        </a:spcAft>
        <a:buClr>
          <a:schemeClr val="accent1"/>
        </a:buClr>
        <a:buSzPct val="80000"/>
        <a:buFont typeface="Wingdings 3" charset="2"/>
        <a:buChar char=""/>
        <a:defRPr sz="900" b="0" i="0" kern="1200">
          <a:solidFill>
            <a:schemeClr val="tx1">
              <a:lumMod val="75000"/>
              <a:lumOff val="25000"/>
            </a:schemeClr>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5.gif"/></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hyperlink" Target="https://www.thekennedyforum.org/app/uploads/2021/05/Ramstad-Model-Legislation-May-2021.pdf"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1.xml"/><Relationship Id="rId1" Type="http://schemas.openxmlformats.org/officeDocument/2006/relationships/slideLayout" Target="../slideLayouts/slideLayout51.xml"/><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13" Type="http://schemas.openxmlformats.org/officeDocument/2006/relationships/image" Target="../media/image27.jpeg"/><Relationship Id="rId18" Type="http://schemas.openxmlformats.org/officeDocument/2006/relationships/image" Target="../media/image32.jpeg"/><Relationship Id="rId26" Type="http://schemas.openxmlformats.org/officeDocument/2006/relationships/image" Target="../media/image40.jpeg"/><Relationship Id="rId39" Type="http://schemas.openxmlformats.org/officeDocument/2006/relationships/image" Target="../media/image53.jpeg"/><Relationship Id="rId21" Type="http://schemas.openxmlformats.org/officeDocument/2006/relationships/image" Target="../media/image35.jpeg"/><Relationship Id="rId34" Type="http://schemas.openxmlformats.org/officeDocument/2006/relationships/image" Target="../media/image48.png"/><Relationship Id="rId42" Type="http://schemas.openxmlformats.org/officeDocument/2006/relationships/image" Target="../media/image56.png"/><Relationship Id="rId47" Type="http://schemas.openxmlformats.org/officeDocument/2006/relationships/image" Target="../media/image61.jpeg"/><Relationship Id="rId7" Type="http://schemas.openxmlformats.org/officeDocument/2006/relationships/image" Target="../media/image21.jpeg"/><Relationship Id="rId2" Type="http://schemas.openxmlformats.org/officeDocument/2006/relationships/tags" Target="../tags/tag2.xml"/><Relationship Id="rId16" Type="http://schemas.openxmlformats.org/officeDocument/2006/relationships/image" Target="../media/image30.jpeg"/><Relationship Id="rId29" Type="http://schemas.openxmlformats.org/officeDocument/2006/relationships/image" Target="../media/image43.jpeg"/><Relationship Id="rId11" Type="http://schemas.openxmlformats.org/officeDocument/2006/relationships/image" Target="../media/image25.png"/><Relationship Id="rId24" Type="http://schemas.openxmlformats.org/officeDocument/2006/relationships/image" Target="../media/image38.jpeg"/><Relationship Id="rId32" Type="http://schemas.openxmlformats.org/officeDocument/2006/relationships/image" Target="../media/image46.jpeg"/><Relationship Id="rId37" Type="http://schemas.openxmlformats.org/officeDocument/2006/relationships/image" Target="../media/image51.jpeg"/><Relationship Id="rId40" Type="http://schemas.openxmlformats.org/officeDocument/2006/relationships/image" Target="../media/image54.jpeg"/><Relationship Id="rId45" Type="http://schemas.openxmlformats.org/officeDocument/2006/relationships/image" Target="../media/image59.jpeg"/><Relationship Id="rId5" Type="http://schemas.openxmlformats.org/officeDocument/2006/relationships/oleObject" Target="../embeddings/oleObject1.bin"/><Relationship Id="rId15" Type="http://schemas.openxmlformats.org/officeDocument/2006/relationships/image" Target="../media/image29.jpeg"/><Relationship Id="rId23" Type="http://schemas.openxmlformats.org/officeDocument/2006/relationships/image" Target="../media/image37.jpeg"/><Relationship Id="rId28" Type="http://schemas.openxmlformats.org/officeDocument/2006/relationships/image" Target="../media/image42.jpeg"/><Relationship Id="rId36" Type="http://schemas.openxmlformats.org/officeDocument/2006/relationships/image" Target="../media/image50.jpeg"/><Relationship Id="rId49" Type="http://schemas.openxmlformats.org/officeDocument/2006/relationships/image" Target="../media/image63.jpeg"/><Relationship Id="rId10" Type="http://schemas.openxmlformats.org/officeDocument/2006/relationships/image" Target="../media/image24.png"/><Relationship Id="rId19" Type="http://schemas.openxmlformats.org/officeDocument/2006/relationships/image" Target="../media/image33.png"/><Relationship Id="rId31" Type="http://schemas.openxmlformats.org/officeDocument/2006/relationships/image" Target="../media/image45.jpeg"/><Relationship Id="rId44" Type="http://schemas.openxmlformats.org/officeDocument/2006/relationships/image" Target="../media/image58.jpeg"/><Relationship Id="rId4" Type="http://schemas.openxmlformats.org/officeDocument/2006/relationships/notesSlide" Target="../notesSlides/notesSlide14.xml"/><Relationship Id="rId9" Type="http://schemas.openxmlformats.org/officeDocument/2006/relationships/image" Target="../media/image23.jpeg"/><Relationship Id="rId14" Type="http://schemas.openxmlformats.org/officeDocument/2006/relationships/image" Target="../media/image28.jpeg"/><Relationship Id="rId22" Type="http://schemas.openxmlformats.org/officeDocument/2006/relationships/image" Target="../media/image36.jpeg"/><Relationship Id="rId27" Type="http://schemas.openxmlformats.org/officeDocument/2006/relationships/image" Target="../media/image41.jpeg"/><Relationship Id="rId30" Type="http://schemas.openxmlformats.org/officeDocument/2006/relationships/image" Target="../media/image44.jpeg"/><Relationship Id="rId35" Type="http://schemas.openxmlformats.org/officeDocument/2006/relationships/image" Target="../media/image49.jpeg"/><Relationship Id="rId43" Type="http://schemas.openxmlformats.org/officeDocument/2006/relationships/image" Target="../media/image57.jpeg"/><Relationship Id="rId48" Type="http://schemas.openxmlformats.org/officeDocument/2006/relationships/image" Target="../media/image62.jpeg"/><Relationship Id="rId8" Type="http://schemas.openxmlformats.org/officeDocument/2006/relationships/image" Target="../media/image22.jpeg"/><Relationship Id="rId3" Type="http://schemas.openxmlformats.org/officeDocument/2006/relationships/slideLayout" Target="../slideLayouts/slideLayout51.xml"/><Relationship Id="rId12" Type="http://schemas.openxmlformats.org/officeDocument/2006/relationships/image" Target="../media/image26.jpeg"/><Relationship Id="rId17" Type="http://schemas.openxmlformats.org/officeDocument/2006/relationships/image" Target="../media/image31.jpeg"/><Relationship Id="rId25" Type="http://schemas.openxmlformats.org/officeDocument/2006/relationships/image" Target="../media/image39.jpeg"/><Relationship Id="rId33" Type="http://schemas.openxmlformats.org/officeDocument/2006/relationships/image" Target="../media/image47.jpeg"/><Relationship Id="rId38" Type="http://schemas.openxmlformats.org/officeDocument/2006/relationships/image" Target="../media/image52.png"/><Relationship Id="rId46" Type="http://schemas.openxmlformats.org/officeDocument/2006/relationships/image" Target="../media/image60.jpeg"/><Relationship Id="rId20" Type="http://schemas.openxmlformats.org/officeDocument/2006/relationships/image" Target="../media/image34.jpeg"/><Relationship Id="rId41" Type="http://schemas.openxmlformats.org/officeDocument/2006/relationships/image" Target="../media/image55.jpeg"/><Relationship Id="rId1" Type="http://schemas.openxmlformats.org/officeDocument/2006/relationships/tags" Target="../tags/tag1.xml"/><Relationship Id="rId6" Type="http://schemas.openxmlformats.org/officeDocument/2006/relationships/image" Target="../media/image20.e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6.xml"/><Relationship Id="rId1" Type="http://schemas.openxmlformats.org/officeDocument/2006/relationships/slideLayout" Target="../slideLayouts/slideLayout5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5.xml"/></Relationships>
</file>

<file path=ppt/slides/_rels/slide26.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8.xml"/><Relationship Id="rId1" Type="http://schemas.openxmlformats.org/officeDocument/2006/relationships/slideLayout" Target="../slideLayouts/slideLayout51.xml"/></Relationships>
</file>

<file path=ppt/slides/_rels/slide27.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notesSlide" Target="../notesSlides/notesSlide19.xml"/><Relationship Id="rId1" Type="http://schemas.openxmlformats.org/officeDocument/2006/relationships/slideLayout" Target="../slideLayouts/slideLayout51.xml"/></Relationships>
</file>

<file path=ppt/slides/_rels/slide28.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0.xml"/><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image" Target="../media/image6.jpeg"/><Relationship Id="rId7"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Layout" Target="../slideLayouts/slideLayout13.xml"/><Relationship Id="rId6" Type="http://schemas.openxmlformats.org/officeDocument/2006/relationships/image" Target="../media/image9.jpeg"/><Relationship Id="rId5" Type="http://schemas.openxmlformats.org/officeDocument/2006/relationships/image" Target="../media/image8.jpeg"/><Relationship Id="rId10" Type="http://schemas.openxmlformats.org/officeDocument/2006/relationships/image" Target="../media/image13.jpeg"/><Relationship Id="rId4" Type="http://schemas.openxmlformats.org/officeDocument/2006/relationships/image" Target="../media/image7.jpeg"/><Relationship Id="rId9" Type="http://schemas.openxmlformats.org/officeDocument/2006/relationships/image" Target="../media/image12.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notesSlide" Target="../notesSlides/notesSlide2.xml"/><Relationship Id="rId1" Type="http://schemas.openxmlformats.org/officeDocument/2006/relationships/slideLayout" Target="../slideLayouts/slideLayout18.xml"/><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Content Placeholder 4" descr="A group of people in circles with text&#10;&#10;Description automatically generated">
            <a:extLst>
              <a:ext uri="{FF2B5EF4-FFF2-40B4-BE49-F238E27FC236}">
                <a16:creationId xmlns:a16="http://schemas.microsoft.com/office/drawing/2014/main" id="{5F167BD5-6B52-A940-C941-A1A45D622BFA}"/>
              </a:ext>
            </a:extLst>
          </p:cNvPr>
          <p:cNvPicPr>
            <a:picLocks noGrp="1" noChangeAspect="1"/>
          </p:cNvPicPr>
          <p:nvPr>
            <p:ph idx="1"/>
          </p:nvPr>
        </p:nvPicPr>
        <p:blipFill>
          <a:blip r:embed="rId2"/>
          <a:stretch>
            <a:fillRect/>
          </a:stretch>
        </p:blipFill>
        <p:spPr>
          <a:xfrm>
            <a:off x="0" y="1872689"/>
            <a:ext cx="12318922" cy="4373217"/>
          </a:xfrm>
          <a:prstGeom prst="rect">
            <a:avLst/>
          </a:prstGeom>
        </p:spPr>
      </p:pic>
      <p:sp>
        <p:nvSpPr>
          <p:cNvPr id="6" name="TextBox 5">
            <a:extLst>
              <a:ext uri="{FF2B5EF4-FFF2-40B4-BE49-F238E27FC236}">
                <a16:creationId xmlns:a16="http://schemas.microsoft.com/office/drawing/2014/main" id="{0FE3F02D-4468-1E24-8400-24D053444FE1}"/>
              </a:ext>
            </a:extLst>
          </p:cNvPr>
          <p:cNvSpPr txBox="1"/>
          <p:nvPr/>
        </p:nvSpPr>
        <p:spPr>
          <a:xfrm>
            <a:off x="472611" y="518472"/>
            <a:ext cx="10952252" cy="1354217"/>
          </a:xfrm>
          <a:prstGeom prst="rect">
            <a:avLst/>
          </a:prstGeom>
          <a:noFill/>
        </p:spPr>
        <p:txBody>
          <a:bodyPr wrap="square" rtlCol="0">
            <a:spAutoFit/>
          </a:bodyPr>
          <a:lstStyle/>
          <a:p>
            <a:pPr algn="ctr"/>
            <a:r>
              <a:rPr lang="en-US" sz="3200" b="1" kern="100" dirty="0">
                <a:solidFill>
                  <a:srgbClr val="1B4266"/>
                </a:solidFill>
                <a:effectLst/>
                <a:latin typeface="Open Sans" panose="020B0606030504020204" pitchFamily="34" charset="0"/>
                <a:ea typeface="Calibri" panose="020F0502020204030204" pitchFamily="34" charset="0"/>
                <a:cs typeface="Times New Roman" panose="02020603050405020304" pitchFamily="18" charset="0"/>
              </a:rPr>
              <a:t>The Importance and Legal Significance of Generally Accepted Standards of Care in ABA</a:t>
            </a:r>
            <a:endParaRPr lang="en-US" sz="32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33477747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819A166-7571-4003-A6B8-B62034C3ED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38199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solidFill>
              <a:latin typeface="Calibri" panose="020F0502020204030204"/>
            </a:endParaRPr>
          </a:p>
        </p:txBody>
      </p:sp>
      <p:sp>
        <p:nvSpPr>
          <p:cNvPr id="2" name="Title 1">
            <a:extLst>
              <a:ext uri="{FF2B5EF4-FFF2-40B4-BE49-F238E27FC236}">
                <a16:creationId xmlns:a16="http://schemas.microsoft.com/office/drawing/2014/main" id="{38603673-4B23-D475-844E-74A9A2B3DDDA}"/>
              </a:ext>
            </a:extLst>
          </p:cNvPr>
          <p:cNvSpPr>
            <a:spLocks noGrp="1"/>
          </p:cNvSpPr>
          <p:nvPr>
            <p:ph type="title"/>
          </p:nvPr>
        </p:nvSpPr>
        <p:spPr>
          <a:xfrm>
            <a:off x="1917556" y="620392"/>
            <a:ext cx="3014040" cy="5504688"/>
          </a:xfrm>
        </p:spPr>
        <p:txBody>
          <a:bodyPr>
            <a:normAutofit/>
          </a:bodyPr>
          <a:lstStyle/>
          <a:p>
            <a:r>
              <a:rPr lang="en-US" sz="4400" b="1" dirty="0">
                <a:solidFill>
                  <a:schemeClr val="bg1"/>
                </a:solidFill>
              </a:rPr>
              <a:t>The Importance and </a:t>
            </a:r>
            <a:br>
              <a:rPr lang="en-US" sz="4400" b="1" dirty="0">
                <a:solidFill>
                  <a:schemeClr val="bg1"/>
                </a:solidFill>
              </a:rPr>
            </a:br>
            <a:r>
              <a:rPr lang="en-US" sz="4400" b="1" dirty="0">
                <a:solidFill>
                  <a:schemeClr val="bg1"/>
                </a:solidFill>
              </a:rPr>
              <a:t>Legal Significance of Clinical</a:t>
            </a:r>
            <a:br>
              <a:rPr lang="en-US" sz="4400" b="1" dirty="0">
                <a:solidFill>
                  <a:schemeClr val="bg1"/>
                </a:solidFill>
              </a:rPr>
            </a:br>
            <a:r>
              <a:rPr lang="en-US" sz="4400" b="1" dirty="0">
                <a:solidFill>
                  <a:schemeClr val="bg1"/>
                </a:solidFill>
              </a:rPr>
              <a:t>Standards</a:t>
            </a:r>
          </a:p>
        </p:txBody>
      </p:sp>
      <p:graphicFrame>
        <p:nvGraphicFramePr>
          <p:cNvPr id="5" name="Content Placeholder 2">
            <a:extLst>
              <a:ext uri="{FF2B5EF4-FFF2-40B4-BE49-F238E27FC236}">
                <a16:creationId xmlns:a16="http://schemas.microsoft.com/office/drawing/2014/main" id="{ED713672-48BC-8012-E2D6-F8033D62BCB7}"/>
              </a:ext>
            </a:extLst>
          </p:cNvPr>
          <p:cNvGraphicFramePr>
            <a:graphicFrameLocks noGrp="1"/>
          </p:cNvGraphicFramePr>
          <p:nvPr>
            <p:ph idx="1"/>
          </p:nvPr>
        </p:nvGraphicFramePr>
        <p:xfrm>
          <a:off x="5625291" y="620392"/>
          <a:ext cx="4697730" cy="55046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Down Arrow 2">
            <a:extLst>
              <a:ext uri="{FF2B5EF4-FFF2-40B4-BE49-F238E27FC236}">
                <a16:creationId xmlns:a16="http://schemas.microsoft.com/office/drawing/2014/main" id="{1C9CE241-DBFE-FF2C-D9C4-20223AAED5BF}"/>
              </a:ext>
            </a:extLst>
          </p:cNvPr>
          <p:cNvSpPr/>
          <p:nvPr/>
        </p:nvSpPr>
        <p:spPr>
          <a:xfrm>
            <a:off x="7731840" y="1524000"/>
            <a:ext cx="484632" cy="5334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Calibri" panose="020F0502020204030204"/>
            </a:endParaRPr>
          </a:p>
        </p:txBody>
      </p:sp>
      <p:sp>
        <p:nvSpPr>
          <p:cNvPr id="4" name="Down Arrow 3">
            <a:extLst>
              <a:ext uri="{FF2B5EF4-FFF2-40B4-BE49-F238E27FC236}">
                <a16:creationId xmlns:a16="http://schemas.microsoft.com/office/drawing/2014/main" id="{5E2479AB-23C2-4C6D-42C2-52B5FA59DE61}"/>
              </a:ext>
            </a:extLst>
          </p:cNvPr>
          <p:cNvSpPr/>
          <p:nvPr/>
        </p:nvSpPr>
        <p:spPr>
          <a:xfrm>
            <a:off x="7731840" y="3106036"/>
            <a:ext cx="484632" cy="5334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Calibri" panose="020F0502020204030204"/>
            </a:endParaRPr>
          </a:p>
        </p:txBody>
      </p:sp>
      <p:sp>
        <p:nvSpPr>
          <p:cNvPr id="6" name="Down Arrow 5">
            <a:extLst>
              <a:ext uri="{FF2B5EF4-FFF2-40B4-BE49-F238E27FC236}">
                <a16:creationId xmlns:a16="http://schemas.microsoft.com/office/drawing/2014/main" id="{E87B429C-4390-1DE0-1E8F-21F78B2FEA5D}"/>
              </a:ext>
            </a:extLst>
          </p:cNvPr>
          <p:cNvSpPr/>
          <p:nvPr/>
        </p:nvSpPr>
        <p:spPr>
          <a:xfrm>
            <a:off x="7722194" y="4688072"/>
            <a:ext cx="484632" cy="5334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Calibri" panose="020F0502020204030204"/>
            </a:endParaRPr>
          </a:p>
        </p:txBody>
      </p:sp>
    </p:spTree>
    <p:extLst>
      <p:ext uri="{BB962C8B-B14F-4D97-AF65-F5344CB8AC3E}">
        <p14:creationId xmlns:p14="http://schemas.microsoft.com/office/powerpoint/2010/main" val="4243304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4879" name="Rectangle 164878">
            <a:extLst>
              <a:ext uri="{FF2B5EF4-FFF2-40B4-BE49-F238E27FC236}">
                <a16:creationId xmlns:a16="http://schemas.microsoft.com/office/drawing/2014/main" id="{45D37F4E-DDB4-456B-97E0-9937730A03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865" name="Title 1">
            <a:extLst>
              <a:ext uri="{FF2B5EF4-FFF2-40B4-BE49-F238E27FC236}">
                <a16:creationId xmlns:a16="http://schemas.microsoft.com/office/drawing/2014/main" id="{ECBCD3EE-DA78-8097-1168-95CB9B0FF991}"/>
              </a:ext>
            </a:extLst>
          </p:cNvPr>
          <p:cNvSpPr>
            <a:spLocks noGrp="1" noChangeArrowheads="1"/>
          </p:cNvSpPr>
          <p:nvPr>
            <p:ph type="title"/>
          </p:nvPr>
        </p:nvSpPr>
        <p:spPr>
          <a:xfrm>
            <a:off x="572493" y="238539"/>
            <a:ext cx="11018520" cy="1434415"/>
          </a:xfrm>
        </p:spPr>
        <p:txBody>
          <a:bodyPr anchor="b">
            <a:normAutofit/>
          </a:bodyPr>
          <a:lstStyle/>
          <a:p>
            <a:pPr eaLnBrk="1" hangingPunct="1"/>
            <a:r>
              <a:rPr lang="en-US" altLang="en-US" sz="5400" dirty="0"/>
              <a:t>Wit v. United Behavioral Health</a:t>
            </a:r>
          </a:p>
        </p:txBody>
      </p:sp>
      <p:sp>
        <p:nvSpPr>
          <p:cNvPr id="164881" name="sketchy line">
            <a:extLst>
              <a:ext uri="{FF2B5EF4-FFF2-40B4-BE49-F238E27FC236}">
                <a16:creationId xmlns:a16="http://schemas.microsoft.com/office/drawing/2014/main" id="{B2DD41CD-8F47-4F56-AD12-4E2FF76969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2493" y="1681544"/>
            <a:ext cx="10972800" cy="18288"/>
          </a:xfrm>
          <a:custGeom>
            <a:avLst/>
            <a:gdLst>
              <a:gd name="connsiteX0" fmla="*/ 0 w 10972800"/>
              <a:gd name="connsiteY0" fmla="*/ 0 h 18288"/>
              <a:gd name="connsiteX1" fmla="*/ 356616 w 10972800"/>
              <a:gd name="connsiteY1" fmla="*/ 0 h 18288"/>
              <a:gd name="connsiteX2" fmla="*/ 1042416 w 10972800"/>
              <a:gd name="connsiteY2" fmla="*/ 0 h 18288"/>
              <a:gd name="connsiteX3" fmla="*/ 1947672 w 10972800"/>
              <a:gd name="connsiteY3" fmla="*/ 0 h 18288"/>
              <a:gd name="connsiteX4" fmla="*/ 2633472 w 10972800"/>
              <a:gd name="connsiteY4" fmla="*/ 0 h 18288"/>
              <a:gd name="connsiteX5" fmla="*/ 2990088 w 10972800"/>
              <a:gd name="connsiteY5" fmla="*/ 0 h 18288"/>
              <a:gd name="connsiteX6" fmla="*/ 3456432 w 10972800"/>
              <a:gd name="connsiteY6" fmla="*/ 0 h 18288"/>
              <a:gd name="connsiteX7" fmla="*/ 4361688 w 10972800"/>
              <a:gd name="connsiteY7" fmla="*/ 0 h 18288"/>
              <a:gd name="connsiteX8" fmla="*/ 5266944 w 10972800"/>
              <a:gd name="connsiteY8" fmla="*/ 0 h 18288"/>
              <a:gd name="connsiteX9" fmla="*/ 6172200 w 10972800"/>
              <a:gd name="connsiteY9" fmla="*/ 0 h 18288"/>
              <a:gd name="connsiteX10" fmla="*/ 6528816 w 10972800"/>
              <a:gd name="connsiteY10" fmla="*/ 0 h 18288"/>
              <a:gd name="connsiteX11" fmla="*/ 7214616 w 10972800"/>
              <a:gd name="connsiteY11" fmla="*/ 0 h 18288"/>
              <a:gd name="connsiteX12" fmla="*/ 7790688 w 10972800"/>
              <a:gd name="connsiteY12" fmla="*/ 0 h 18288"/>
              <a:gd name="connsiteX13" fmla="*/ 8147304 w 10972800"/>
              <a:gd name="connsiteY13" fmla="*/ 0 h 18288"/>
              <a:gd name="connsiteX14" fmla="*/ 9052560 w 10972800"/>
              <a:gd name="connsiteY14" fmla="*/ 0 h 18288"/>
              <a:gd name="connsiteX15" fmla="*/ 9409176 w 10972800"/>
              <a:gd name="connsiteY15" fmla="*/ 0 h 18288"/>
              <a:gd name="connsiteX16" fmla="*/ 9765792 w 10972800"/>
              <a:gd name="connsiteY16" fmla="*/ 0 h 18288"/>
              <a:gd name="connsiteX17" fmla="*/ 10341864 w 10972800"/>
              <a:gd name="connsiteY17" fmla="*/ 0 h 18288"/>
              <a:gd name="connsiteX18" fmla="*/ 10972800 w 10972800"/>
              <a:gd name="connsiteY18" fmla="*/ 0 h 18288"/>
              <a:gd name="connsiteX19" fmla="*/ 10972800 w 10972800"/>
              <a:gd name="connsiteY19" fmla="*/ 18288 h 18288"/>
              <a:gd name="connsiteX20" fmla="*/ 10177272 w 10972800"/>
              <a:gd name="connsiteY20" fmla="*/ 18288 h 18288"/>
              <a:gd name="connsiteX21" fmla="*/ 9820656 w 10972800"/>
              <a:gd name="connsiteY21" fmla="*/ 18288 h 18288"/>
              <a:gd name="connsiteX22" fmla="*/ 9464040 w 10972800"/>
              <a:gd name="connsiteY22" fmla="*/ 18288 h 18288"/>
              <a:gd name="connsiteX23" fmla="*/ 8778240 w 10972800"/>
              <a:gd name="connsiteY23" fmla="*/ 18288 h 18288"/>
              <a:gd name="connsiteX24" fmla="*/ 8421624 w 10972800"/>
              <a:gd name="connsiteY24" fmla="*/ 18288 h 18288"/>
              <a:gd name="connsiteX25" fmla="*/ 7735824 w 10972800"/>
              <a:gd name="connsiteY25" fmla="*/ 18288 h 18288"/>
              <a:gd name="connsiteX26" fmla="*/ 6940296 w 10972800"/>
              <a:gd name="connsiteY26" fmla="*/ 18288 h 18288"/>
              <a:gd name="connsiteX27" fmla="*/ 6254496 w 10972800"/>
              <a:gd name="connsiteY27" fmla="*/ 18288 h 18288"/>
              <a:gd name="connsiteX28" fmla="*/ 5458968 w 10972800"/>
              <a:gd name="connsiteY28" fmla="*/ 18288 h 18288"/>
              <a:gd name="connsiteX29" fmla="*/ 4663440 w 10972800"/>
              <a:gd name="connsiteY29" fmla="*/ 18288 h 18288"/>
              <a:gd name="connsiteX30" fmla="*/ 4306824 w 10972800"/>
              <a:gd name="connsiteY30" fmla="*/ 18288 h 18288"/>
              <a:gd name="connsiteX31" fmla="*/ 3840480 w 10972800"/>
              <a:gd name="connsiteY31" fmla="*/ 18288 h 18288"/>
              <a:gd name="connsiteX32" fmla="*/ 3264408 w 10972800"/>
              <a:gd name="connsiteY32" fmla="*/ 18288 h 18288"/>
              <a:gd name="connsiteX33" fmla="*/ 2578608 w 10972800"/>
              <a:gd name="connsiteY33" fmla="*/ 18288 h 18288"/>
              <a:gd name="connsiteX34" fmla="*/ 1673352 w 10972800"/>
              <a:gd name="connsiteY34" fmla="*/ 18288 h 18288"/>
              <a:gd name="connsiteX35" fmla="*/ 877824 w 10972800"/>
              <a:gd name="connsiteY35" fmla="*/ 18288 h 18288"/>
              <a:gd name="connsiteX36" fmla="*/ 0 w 10972800"/>
              <a:gd name="connsiteY36" fmla="*/ 18288 h 18288"/>
              <a:gd name="connsiteX37" fmla="*/ 0 w 10972800"/>
              <a:gd name="connsiteY37"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972800" h="18288" fill="none" extrusionOk="0">
                <a:moveTo>
                  <a:pt x="0" y="0"/>
                </a:moveTo>
                <a:cubicBezTo>
                  <a:pt x="165916" y="-1866"/>
                  <a:pt x="188720" y="13756"/>
                  <a:pt x="356616" y="0"/>
                </a:cubicBezTo>
                <a:cubicBezTo>
                  <a:pt x="524512" y="-13756"/>
                  <a:pt x="734781" y="8922"/>
                  <a:pt x="1042416" y="0"/>
                </a:cubicBezTo>
                <a:cubicBezTo>
                  <a:pt x="1350051" y="-8922"/>
                  <a:pt x="1595982" y="-26315"/>
                  <a:pt x="1947672" y="0"/>
                </a:cubicBezTo>
                <a:cubicBezTo>
                  <a:pt x="2299362" y="26315"/>
                  <a:pt x="2292691" y="-19526"/>
                  <a:pt x="2633472" y="0"/>
                </a:cubicBezTo>
                <a:cubicBezTo>
                  <a:pt x="2974253" y="19526"/>
                  <a:pt x="2857309" y="10773"/>
                  <a:pt x="2990088" y="0"/>
                </a:cubicBezTo>
                <a:cubicBezTo>
                  <a:pt x="3122867" y="-10773"/>
                  <a:pt x="3359343" y="7194"/>
                  <a:pt x="3456432" y="0"/>
                </a:cubicBezTo>
                <a:cubicBezTo>
                  <a:pt x="3553521" y="-7194"/>
                  <a:pt x="4136258" y="5108"/>
                  <a:pt x="4361688" y="0"/>
                </a:cubicBezTo>
                <a:cubicBezTo>
                  <a:pt x="4587118" y="-5108"/>
                  <a:pt x="4992424" y="-42958"/>
                  <a:pt x="5266944" y="0"/>
                </a:cubicBezTo>
                <a:cubicBezTo>
                  <a:pt x="5541464" y="42958"/>
                  <a:pt x="5882966" y="-3430"/>
                  <a:pt x="6172200" y="0"/>
                </a:cubicBezTo>
                <a:cubicBezTo>
                  <a:pt x="6461434" y="3430"/>
                  <a:pt x="6432127" y="6688"/>
                  <a:pt x="6528816" y="0"/>
                </a:cubicBezTo>
                <a:cubicBezTo>
                  <a:pt x="6625505" y="-6688"/>
                  <a:pt x="6916805" y="-436"/>
                  <a:pt x="7214616" y="0"/>
                </a:cubicBezTo>
                <a:cubicBezTo>
                  <a:pt x="7512427" y="436"/>
                  <a:pt x="7626159" y="-6909"/>
                  <a:pt x="7790688" y="0"/>
                </a:cubicBezTo>
                <a:cubicBezTo>
                  <a:pt x="7955217" y="6909"/>
                  <a:pt x="8048891" y="15307"/>
                  <a:pt x="8147304" y="0"/>
                </a:cubicBezTo>
                <a:cubicBezTo>
                  <a:pt x="8245717" y="-15307"/>
                  <a:pt x="8645618" y="-11734"/>
                  <a:pt x="9052560" y="0"/>
                </a:cubicBezTo>
                <a:cubicBezTo>
                  <a:pt x="9459502" y="11734"/>
                  <a:pt x="9320584" y="8388"/>
                  <a:pt x="9409176" y="0"/>
                </a:cubicBezTo>
                <a:cubicBezTo>
                  <a:pt x="9497768" y="-8388"/>
                  <a:pt x="9644192" y="8379"/>
                  <a:pt x="9765792" y="0"/>
                </a:cubicBezTo>
                <a:cubicBezTo>
                  <a:pt x="9887392" y="-8379"/>
                  <a:pt x="10105220" y="-12663"/>
                  <a:pt x="10341864" y="0"/>
                </a:cubicBezTo>
                <a:cubicBezTo>
                  <a:pt x="10578508" y="12663"/>
                  <a:pt x="10773103" y="-5786"/>
                  <a:pt x="10972800" y="0"/>
                </a:cubicBezTo>
                <a:cubicBezTo>
                  <a:pt x="10972146" y="8818"/>
                  <a:pt x="10972240" y="13823"/>
                  <a:pt x="10972800" y="18288"/>
                </a:cubicBezTo>
                <a:cubicBezTo>
                  <a:pt x="10588778" y="31598"/>
                  <a:pt x="10543381" y="-12698"/>
                  <a:pt x="10177272" y="18288"/>
                </a:cubicBezTo>
                <a:cubicBezTo>
                  <a:pt x="9811163" y="49274"/>
                  <a:pt x="9996817" y="25662"/>
                  <a:pt x="9820656" y="18288"/>
                </a:cubicBezTo>
                <a:cubicBezTo>
                  <a:pt x="9644495" y="10914"/>
                  <a:pt x="9607007" y="31631"/>
                  <a:pt x="9464040" y="18288"/>
                </a:cubicBezTo>
                <a:cubicBezTo>
                  <a:pt x="9321073" y="4945"/>
                  <a:pt x="9114189" y="28940"/>
                  <a:pt x="8778240" y="18288"/>
                </a:cubicBezTo>
                <a:cubicBezTo>
                  <a:pt x="8442291" y="7636"/>
                  <a:pt x="8594763" y="987"/>
                  <a:pt x="8421624" y="18288"/>
                </a:cubicBezTo>
                <a:cubicBezTo>
                  <a:pt x="8248485" y="35589"/>
                  <a:pt x="7929515" y="37573"/>
                  <a:pt x="7735824" y="18288"/>
                </a:cubicBezTo>
                <a:cubicBezTo>
                  <a:pt x="7542133" y="-997"/>
                  <a:pt x="7252504" y="33858"/>
                  <a:pt x="6940296" y="18288"/>
                </a:cubicBezTo>
                <a:cubicBezTo>
                  <a:pt x="6628088" y="2718"/>
                  <a:pt x="6528503" y="48389"/>
                  <a:pt x="6254496" y="18288"/>
                </a:cubicBezTo>
                <a:cubicBezTo>
                  <a:pt x="5980489" y="-11813"/>
                  <a:pt x="5695784" y="-3740"/>
                  <a:pt x="5458968" y="18288"/>
                </a:cubicBezTo>
                <a:cubicBezTo>
                  <a:pt x="5222152" y="40316"/>
                  <a:pt x="5010751" y="19095"/>
                  <a:pt x="4663440" y="18288"/>
                </a:cubicBezTo>
                <a:cubicBezTo>
                  <a:pt x="4316129" y="17481"/>
                  <a:pt x="4425552" y="1606"/>
                  <a:pt x="4306824" y="18288"/>
                </a:cubicBezTo>
                <a:cubicBezTo>
                  <a:pt x="4188096" y="34970"/>
                  <a:pt x="3941535" y="7481"/>
                  <a:pt x="3840480" y="18288"/>
                </a:cubicBezTo>
                <a:cubicBezTo>
                  <a:pt x="3739425" y="29095"/>
                  <a:pt x="3402388" y="17641"/>
                  <a:pt x="3264408" y="18288"/>
                </a:cubicBezTo>
                <a:cubicBezTo>
                  <a:pt x="3126428" y="18935"/>
                  <a:pt x="2776779" y="9983"/>
                  <a:pt x="2578608" y="18288"/>
                </a:cubicBezTo>
                <a:cubicBezTo>
                  <a:pt x="2380437" y="26593"/>
                  <a:pt x="1909468" y="25818"/>
                  <a:pt x="1673352" y="18288"/>
                </a:cubicBezTo>
                <a:cubicBezTo>
                  <a:pt x="1437236" y="10758"/>
                  <a:pt x="1131180" y="49884"/>
                  <a:pt x="877824" y="18288"/>
                </a:cubicBezTo>
                <a:cubicBezTo>
                  <a:pt x="624468" y="-13308"/>
                  <a:pt x="206753" y="2195"/>
                  <a:pt x="0" y="18288"/>
                </a:cubicBezTo>
                <a:cubicBezTo>
                  <a:pt x="313" y="10654"/>
                  <a:pt x="-263" y="4056"/>
                  <a:pt x="0" y="0"/>
                </a:cubicBezTo>
                <a:close/>
              </a:path>
              <a:path w="10972800" h="18288" stroke="0" extrusionOk="0">
                <a:moveTo>
                  <a:pt x="0" y="0"/>
                </a:moveTo>
                <a:cubicBezTo>
                  <a:pt x="164017" y="-17675"/>
                  <a:pt x="309425" y="9913"/>
                  <a:pt x="466344" y="0"/>
                </a:cubicBezTo>
                <a:cubicBezTo>
                  <a:pt x="623263" y="-9913"/>
                  <a:pt x="659300" y="-14524"/>
                  <a:pt x="822960" y="0"/>
                </a:cubicBezTo>
                <a:cubicBezTo>
                  <a:pt x="986620" y="14524"/>
                  <a:pt x="1105222" y="-16481"/>
                  <a:pt x="1289304" y="0"/>
                </a:cubicBezTo>
                <a:cubicBezTo>
                  <a:pt x="1473386" y="16481"/>
                  <a:pt x="1693223" y="26161"/>
                  <a:pt x="1975104" y="0"/>
                </a:cubicBezTo>
                <a:cubicBezTo>
                  <a:pt x="2256985" y="-26161"/>
                  <a:pt x="2435781" y="23061"/>
                  <a:pt x="2770632" y="0"/>
                </a:cubicBezTo>
                <a:cubicBezTo>
                  <a:pt x="3105483" y="-23061"/>
                  <a:pt x="3247479" y="-44011"/>
                  <a:pt x="3675888" y="0"/>
                </a:cubicBezTo>
                <a:cubicBezTo>
                  <a:pt x="4104297" y="44011"/>
                  <a:pt x="4280918" y="4017"/>
                  <a:pt x="4581144" y="0"/>
                </a:cubicBezTo>
                <a:cubicBezTo>
                  <a:pt x="4881370" y="-4017"/>
                  <a:pt x="5021699" y="-11889"/>
                  <a:pt x="5157216" y="0"/>
                </a:cubicBezTo>
                <a:cubicBezTo>
                  <a:pt x="5292733" y="11889"/>
                  <a:pt x="5603398" y="-17698"/>
                  <a:pt x="5952744" y="0"/>
                </a:cubicBezTo>
                <a:cubicBezTo>
                  <a:pt x="6302090" y="17698"/>
                  <a:pt x="6353093" y="-11909"/>
                  <a:pt x="6638544" y="0"/>
                </a:cubicBezTo>
                <a:cubicBezTo>
                  <a:pt x="6923995" y="11909"/>
                  <a:pt x="7053404" y="21630"/>
                  <a:pt x="7214616" y="0"/>
                </a:cubicBezTo>
                <a:cubicBezTo>
                  <a:pt x="7375828" y="-21630"/>
                  <a:pt x="7837963" y="3886"/>
                  <a:pt x="8010144" y="0"/>
                </a:cubicBezTo>
                <a:cubicBezTo>
                  <a:pt x="8182325" y="-3886"/>
                  <a:pt x="8224183" y="16009"/>
                  <a:pt x="8366760" y="0"/>
                </a:cubicBezTo>
                <a:cubicBezTo>
                  <a:pt x="8509337" y="-16009"/>
                  <a:pt x="8687920" y="-5720"/>
                  <a:pt x="8942832" y="0"/>
                </a:cubicBezTo>
                <a:cubicBezTo>
                  <a:pt x="9197744" y="5720"/>
                  <a:pt x="9368437" y="20479"/>
                  <a:pt x="9628632" y="0"/>
                </a:cubicBezTo>
                <a:cubicBezTo>
                  <a:pt x="9888827" y="-20479"/>
                  <a:pt x="10560858" y="-20746"/>
                  <a:pt x="10972800" y="0"/>
                </a:cubicBezTo>
                <a:cubicBezTo>
                  <a:pt x="10972186" y="5722"/>
                  <a:pt x="10972980" y="12495"/>
                  <a:pt x="10972800" y="18288"/>
                </a:cubicBezTo>
                <a:cubicBezTo>
                  <a:pt x="10786146" y="12536"/>
                  <a:pt x="10623717" y="14033"/>
                  <a:pt x="10506456" y="18288"/>
                </a:cubicBezTo>
                <a:cubicBezTo>
                  <a:pt x="10389195" y="22543"/>
                  <a:pt x="10296178" y="20107"/>
                  <a:pt x="10149840" y="18288"/>
                </a:cubicBezTo>
                <a:cubicBezTo>
                  <a:pt x="10003502" y="16469"/>
                  <a:pt x="9767530" y="28891"/>
                  <a:pt x="9464040" y="18288"/>
                </a:cubicBezTo>
                <a:cubicBezTo>
                  <a:pt x="9160550" y="7685"/>
                  <a:pt x="9229050" y="2659"/>
                  <a:pt x="8997696" y="18288"/>
                </a:cubicBezTo>
                <a:cubicBezTo>
                  <a:pt x="8766342" y="33917"/>
                  <a:pt x="8340136" y="34864"/>
                  <a:pt x="8092440" y="18288"/>
                </a:cubicBezTo>
                <a:cubicBezTo>
                  <a:pt x="7844744" y="1712"/>
                  <a:pt x="7863720" y="27405"/>
                  <a:pt x="7735824" y="18288"/>
                </a:cubicBezTo>
                <a:cubicBezTo>
                  <a:pt x="7607928" y="9171"/>
                  <a:pt x="7323619" y="461"/>
                  <a:pt x="7050024" y="18288"/>
                </a:cubicBezTo>
                <a:cubicBezTo>
                  <a:pt x="6776429" y="36115"/>
                  <a:pt x="6787899" y="28206"/>
                  <a:pt x="6693408" y="18288"/>
                </a:cubicBezTo>
                <a:cubicBezTo>
                  <a:pt x="6598917" y="8370"/>
                  <a:pt x="6395231" y="19114"/>
                  <a:pt x="6227064" y="18288"/>
                </a:cubicBezTo>
                <a:cubicBezTo>
                  <a:pt x="6058897" y="17462"/>
                  <a:pt x="5618582" y="1091"/>
                  <a:pt x="5431536" y="18288"/>
                </a:cubicBezTo>
                <a:cubicBezTo>
                  <a:pt x="5244490" y="35485"/>
                  <a:pt x="4729797" y="-9650"/>
                  <a:pt x="4526280" y="18288"/>
                </a:cubicBezTo>
                <a:cubicBezTo>
                  <a:pt x="4322763" y="46226"/>
                  <a:pt x="4216797" y="756"/>
                  <a:pt x="4059936" y="18288"/>
                </a:cubicBezTo>
                <a:cubicBezTo>
                  <a:pt x="3903075" y="35820"/>
                  <a:pt x="3537912" y="42098"/>
                  <a:pt x="3374136" y="18288"/>
                </a:cubicBezTo>
                <a:cubicBezTo>
                  <a:pt x="3210360" y="-5522"/>
                  <a:pt x="3126842" y="39135"/>
                  <a:pt x="2907792" y="18288"/>
                </a:cubicBezTo>
                <a:cubicBezTo>
                  <a:pt x="2688742" y="-2559"/>
                  <a:pt x="2490436" y="34100"/>
                  <a:pt x="2112264" y="18288"/>
                </a:cubicBezTo>
                <a:cubicBezTo>
                  <a:pt x="1734092" y="2476"/>
                  <a:pt x="1744622" y="-7274"/>
                  <a:pt x="1536192" y="18288"/>
                </a:cubicBezTo>
                <a:cubicBezTo>
                  <a:pt x="1327762" y="43850"/>
                  <a:pt x="1189025" y="6435"/>
                  <a:pt x="1069848" y="18288"/>
                </a:cubicBezTo>
                <a:cubicBezTo>
                  <a:pt x="950671" y="30141"/>
                  <a:pt x="858345" y="33684"/>
                  <a:pt x="713232" y="18288"/>
                </a:cubicBezTo>
                <a:cubicBezTo>
                  <a:pt x="568119" y="2892"/>
                  <a:pt x="250292" y="5410"/>
                  <a:pt x="0" y="18288"/>
                </a:cubicBezTo>
                <a:cubicBezTo>
                  <a:pt x="465" y="13062"/>
                  <a:pt x="-894" y="9029"/>
                  <a:pt x="0" y="0"/>
                </a:cubicBezTo>
                <a:close/>
              </a:path>
            </a:pathLst>
          </a:custGeom>
          <a:solidFill>
            <a:schemeClr val="accent2">
              <a:alpha val="75000"/>
            </a:schemeClr>
          </a:solidFill>
          <a:ln w="44450" cap="rnd">
            <a:solidFill>
              <a:schemeClr val="accent2">
                <a:alpha val="75000"/>
              </a:schemeClr>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867" name="Content Placeholder 1">
            <a:extLst>
              <a:ext uri="{FF2B5EF4-FFF2-40B4-BE49-F238E27FC236}">
                <a16:creationId xmlns:a16="http://schemas.microsoft.com/office/drawing/2014/main" id="{C5F2CCE1-1185-C811-6FC8-10927BB1F3A9}"/>
              </a:ext>
            </a:extLst>
          </p:cNvPr>
          <p:cNvSpPr>
            <a:spLocks noGrp="1" noChangeArrowheads="1"/>
          </p:cNvSpPr>
          <p:nvPr>
            <p:ph idx="1"/>
          </p:nvPr>
        </p:nvSpPr>
        <p:spPr>
          <a:xfrm>
            <a:off x="572493" y="2071316"/>
            <a:ext cx="6713552" cy="4119172"/>
          </a:xfrm>
        </p:spPr>
        <p:txBody>
          <a:bodyPr anchor="t">
            <a:normAutofit/>
          </a:bodyPr>
          <a:lstStyle/>
          <a:p>
            <a:r>
              <a:rPr lang="en-US" altLang="en-US" sz="1900"/>
              <a:t>UBH owed duty to administer plans solely in the interest of the participants.  Promised to cover all care in accordance with generally accepted standards.  </a:t>
            </a:r>
          </a:p>
          <a:p>
            <a:pPr>
              <a:buClr>
                <a:srgbClr val="00CCFF"/>
              </a:buClr>
            </a:pPr>
            <a:r>
              <a:rPr lang="en-US" altLang="en-US" sz="1900"/>
              <a:t>Violated obligations by using guidelines more restrictive than generally accepted standards and prioritizing cost savings over members interests.</a:t>
            </a:r>
          </a:p>
          <a:p>
            <a:pPr>
              <a:buClr>
                <a:srgbClr val="00CCFF"/>
              </a:buClr>
            </a:pPr>
            <a:r>
              <a:rPr lang="en-US" altLang="en-US" sz="1900"/>
              <a:t>Court noted multiple sources for determining generally accepted standards of care, including:</a:t>
            </a:r>
          </a:p>
          <a:p>
            <a:pPr lvl="1">
              <a:buClr>
                <a:srgbClr val="00CCFF"/>
              </a:buClr>
            </a:pPr>
            <a:r>
              <a:rPr lang="en-US" altLang="en-US" sz="1900"/>
              <a:t>peer-reviewed studies;</a:t>
            </a:r>
          </a:p>
          <a:p>
            <a:pPr lvl="1">
              <a:buClr>
                <a:srgbClr val="00CCFF"/>
              </a:buClr>
            </a:pPr>
            <a:r>
              <a:rPr lang="en-US" altLang="en-US" sz="1900"/>
              <a:t>consensus guidelines from professional organizations (ex., American Association of Community Psychiatrists, American Academy of Child and Adolescent Psychiatry, APA)</a:t>
            </a:r>
          </a:p>
          <a:p>
            <a:pPr lvl="1">
              <a:buClr>
                <a:srgbClr val="00CCFF"/>
              </a:buClr>
            </a:pPr>
            <a:r>
              <a:rPr lang="en-US" altLang="en-US" sz="1900"/>
              <a:t>guidelines and materials distributed by government agencies (ex., CMS).</a:t>
            </a:r>
          </a:p>
          <a:p>
            <a:endParaRPr lang="en-US" altLang="en-US" sz="1900"/>
          </a:p>
        </p:txBody>
      </p:sp>
      <p:pic>
        <p:nvPicPr>
          <p:cNvPr id="164866" name="Picture 2" descr="C:\Users\CR1\AppData\Local\Microsoft\Windows\Temporary Internet Files\Content.IE5\HWKFR8G6\gavel[1].gif">
            <a:extLst>
              <a:ext uri="{FF2B5EF4-FFF2-40B4-BE49-F238E27FC236}">
                <a16:creationId xmlns:a16="http://schemas.microsoft.com/office/drawing/2014/main" id="{18447BC0-6A29-6586-806E-0135625F075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23454" b="-1"/>
          <a:stretch/>
        </p:blipFill>
        <p:spPr bwMode="auto">
          <a:xfrm>
            <a:off x="7675658" y="2093976"/>
            <a:ext cx="3941064" cy="40965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29" name="Title 4">
            <a:extLst>
              <a:ext uri="{FF2B5EF4-FFF2-40B4-BE49-F238E27FC236}">
                <a16:creationId xmlns:a16="http://schemas.microsoft.com/office/drawing/2014/main" id="{6BDE3DEE-34C3-A1C7-D622-A36AB01C2571}"/>
              </a:ext>
            </a:extLst>
          </p:cNvPr>
          <p:cNvSpPr>
            <a:spLocks noGrp="1" noChangeArrowheads="1"/>
          </p:cNvSpPr>
          <p:nvPr>
            <p:ph type="title"/>
          </p:nvPr>
        </p:nvSpPr>
        <p:spPr>
          <a:xfrm>
            <a:off x="1740283" y="109431"/>
            <a:ext cx="10515600" cy="1325563"/>
          </a:xfrm>
        </p:spPr>
        <p:txBody>
          <a:bodyPr>
            <a:normAutofit/>
          </a:bodyPr>
          <a:lstStyle/>
          <a:p>
            <a:pPr algn="ctr"/>
            <a:r>
              <a:rPr lang="en-US" altLang="en-US" sz="4000" b="1" dirty="0"/>
              <a:t>District Court’s Liability Ruling</a:t>
            </a:r>
          </a:p>
        </p:txBody>
      </p:sp>
      <p:sp>
        <p:nvSpPr>
          <p:cNvPr id="150530" name="Text Placeholder 1">
            <a:extLst>
              <a:ext uri="{FF2B5EF4-FFF2-40B4-BE49-F238E27FC236}">
                <a16:creationId xmlns:a16="http://schemas.microsoft.com/office/drawing/2014/main" id="{D16BEB2C-9606-5123-10D6-CD64A918E876}"/>
              </a:ext>
            </a:extLst>
          </p:cNvPr>
          <p:cNvSpPr>
            <a:spLocks noGrp="1" noChangeArrowheads="1"/>
          </p:cNvSpPr>
          <p:nvPr>
            <p:ph idx="1"/>
          </p:nvPr>
        </p:nvSpPr>
        <p:spPr>
          <a:xfrm>
            <a:off x="1155700" y="2524125"/>
            <a:ext cx="8761413" cy="3416300"/>
          </a:xfrm>
        </p:spPr>
        <p:txBody>
          <a:bodyPr/>
          <a:lstStyle/>
          <a:p>
            <a:pPr marL="0" indent="0" algn="ctr">
              <a:buFont typeface="Wingdings 3" pitchFamily="2" charset="2"/>
              <a:buNone/>
            </a:pPr>
            <a:endParaRPr lang="en-US" altLang="en-US" sz="3600"/>
          </a:p>
        </p:txBody>
      </p:sp>
      <p:pic>
        <p:nvPicPr>
          <p:cNvPr id="150531" name="Picture 2">
            <a:extLst>
              <a:ext uri="{FF2B5EF4-FFF2-40B4-BE49-F238E27FC236}">
                <a16:creationId xmlns:a16="http://schemas.microsoft.com/office/drawing/2014/main" id="{0A97E96B-34F1-1606-ABFE-447D8DF4F2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9474" y="1175142"/>
            <a:ext cx="3973296" cy="51419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C5A1FF5D-C85C-483D-EDA5-CDAA1616A58D}"/>
              </a:ext>
            </a:extLst>
          </p:cNvPr>
          <p:cNvSpPr txBox="1"/>
          <p:nvPr/>
        </p:nvSpPr>
        <p:spPr>
          <a:xfrm>
            <a:off x="4856680" y="1859820"/>
            <a:ext cx="5868987" cy="3970318"/>
          </a:xfrm>
          <a:prstGeom prst="rect">
            <a:avLst/>
          </a:prstGeom>
          <a:noFill/>
          <a:ln>
            <a:solidFill>
              <a:schemeClr val="bg2">
                <a:lumMod val="90000"/>
              </a:schemeClr>
            </a:solidFill>
          </a:ln>
        </p:spPr>
        <p:txBody>
          <a:bodyPr>
            <a:spAutoFit/>
          </a:bodyPr>
          <a:lstStyle/>
          <a:p>
            <a:pPr>
              <a:defRPr/>
            </a:pPr>
            <a:r>
              <a:rPr lang="en-US" sz="2800" dirty="0"/>
              <a:t>“The ASAM Criteria are the most widely accepted articulation of the generally accepted standards of care for how to conduct a comprehensive multidimensional assessment of a patient with substance related disorder, translate that into patient treatment needs and match those needs to the appropriate level of care.”</a:t>
            </a:r>
          </a:p>
        </p:txBody>
      </p:sp>
      <p:pic>
        <p:nvPicPr>
          <p:cNvPr id="150533" name="Picture 2" descr="C:\Users\CR1\AppData\Local\Microsoft\Windows\Temporary Internet Files\Content.IE5\HWKFR8G6\gavel[1].gif">
            <a:extLst>
              <a:ext uri="{FF2B5EF4-FFF2-40B4-BE49-F238E27FC236}">
                <a16:creationId xmlns:a16="http://schemas.microsoft.com/office/drawing/2014/main" id="{018A74FA-49AA-CB2C-ABE0-5E3490C3E19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55135" y="228493"/>
            <a:ext cx="1366838" cy="108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819A166-7571-4003-A6B8-B62034C3ED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38199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solidFill>
              <a:latin typeface="Calibri" panose="020F0502020204030204"/>
            </a:endParaRPr>
          </a:p>
        </p:txBody>
      </p:sp>
      <p:sp>
        <p:nvSpPr>
          <p:cNvPr id="2" name="Title 1">
            <a:extLst>
              <a:ext uri="{FF2B5EF4-FFF2-40B4-BE49-F238E27FC236}">
                <a16:creationId xmlns:a16="http://schemas.microsoft.com/office/drawing/2014/main" id="{38603673-4B23-D475-844E-74A9A2B3DDDA}"/>
              </a:ext>
            </a:extLst>
          </p:cNvPr>
          <p:cNvSpPr>
            <a:spLocks noGrp="1"/>
          </p:cNvSpPr>
          <p:nvPr>
            <p:ph type="title"/>
          </p:nvPr>
        </p:nvSpPr>
        <p:spPr>
          <a:xfrm>
            <a:off x="1917556" y="620392"/>
            <a:ext cx="3065410" cy="5504688"/>
          </a:xfrm>
        </p:spPr>
        <p:txBody>
          <a:bodyPr>
            <a:normAutofit/>
          </a:bodyPr>
          <a:lstStyle/>
          <a:p>
            <a:r>
              <a:rPr lang="en-US" sz="4400" b="1" dirty="0">
                <a:solidFill>
                  <a:schemeClr val="bg1"/>
                </a:solidFill>
              </a:rPr>
              <a:t>The Importance and </a:t>
            </a:r>
            <a:br>
              <a:rPr lang="en-US" sz="4400" b="1" dirty="0">
                <a:solidFill>
                  <a:schemeClr val="bg1"/>
                </a:solidFill>
              </a:rPr>
            </a:br>
            <a:r>
              <a:rPr lang="en-US" sz="4400" b="1" dirty="0">
                <a:solidFill>
                  <a:schemeClr val="bg1"/>
                </a:solidFill>
              </a:rPr>
              <a:t>Legal Significance of Clinical</a:t>
            </a:r>
            <a:br>
              <a:rPr lang="en-US" sz="4400" b="1" dirty="0">
                <a:solidFill>
                  <a:schemeClr val="bg1"/>
                </a:solidFill>
              </a:rPr>
            </a:br>
            <a:r>
              <a:rPr lang="en-US" sz="4400" b="1" dirty="0">
                <a:solidFill>
                  <a:schemeClr val="bg1"/>
                </a:solidFill>
              </a:rPr>
              <a:t>Standards</a:t>
            </a:r>
          </a:p>
        </p:txBody>
      </p:sp>
      <p:graphicFrame>
        <p:nvGraphicFramePr>
          <p:cNvPr id="5" name="Content Placeholder 2">
            <a:extLst>
              <a:ext uri="{FF2B5EF4-FFF2-40B4-BE49-F238E27FC236}">
                <a16:creationId xmlns:a16="http://schemas.microsoft.com/office/drawing/2014/main" id="{ED713672-48BC-8012-E2D6-F8033D62BCB7}"/>
              </a:ext>
            </a:extLst>
          </p:cNvPr>
          <p:cNvGraphicFramePr>
            <a:graphicFrameLocks noGrp="1"/>
          </p:cNvGraphicFramePr>
          <p:nvPr>
            <p:ph idx="1"/>
          </p:nvPr>
        </p:nvGraphicFramePr>
        <p:xfrm>
          <a:off x="5625291" y="620392"/>
          <a:ext cx="4697730" cy="55046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Down Arrow 2">
            <a:extLst>
              <a:ext uri="{FF2B5EF4-FFF2-40B4-BE49-F238E27FC236}">
                <a16:creationId xmlns:a16="http://schemas.microsoft.com/office/drawing/2014/main" id="{1C9CE241-DBFE-FF2C-D9C4-20223AAED5BF}"/>
              </a:ext>
            </a:extLst>
          </p:cNvPr>
          <p:cNvSpPr/>
          <p:nvPr/>
        </p:nvSpPr>
        <p:spPr>
          <a:xfrm>
            <a:off x="7731840" y="1524000"/>
            <a:ext cx="484632" cy="5334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Calibri" panose="020F0502020204030204"/>
            </a:endParaRPr>
          </a:p>
        </p:txBody>
      </p:sp>
      <p:sp>
        <p:nvSpPr>
          <p:cNvPr id="4" name="Down Arrow 3">
            <a:extLst>
              <a:ext uri="{FF2B5EF4-FFF2-40B4-BE49-F238E27FC236}">
                <a16:creationId xmlns:a16="http://schemas.microsoft.com/office/drawing/2014/main" id="{5E2479AB-23C2-4C6D-42C2-52B5FA59DE61}"/>
              </a:ext>
            </a:extLst>
          </p:cNvPr>
          <p:cNvSpPr/>
          <p:nvPr/>
        </p:nvSpPr>
        <p:spPr>
          <a:xfrm>
            <a:off x="7731840" y="3106036"/>
            <a:ext cx="484632" cy="5334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Calibri" panose="020F0502020204030204"/>
            </a:endParaRPr>
          </a:p>
        </p:txBody>
      </p:sp>
      <p:sp>
        <p:nvSpPr>
          <p:cNvPr id="6" name="Down Arrow 5">
            <a:extLst>
              <a:ext uri="{FF2B5EF4-FFF2-40B4-BE49-F238E27FC236}">
                <a16:creationId xmlns:a16="http://schemas.microsoft.com/office/drawing/2014/main" id="{E87B429C-4390-1DE0-1E8F-21F78B2FEA5D}"/>
              </a:ext>
            </a:extLst>
          </p:cNvPr>
          <p:cNvSpPr/>
          <p:nvPr/>
        </p:nvSpPr>
        <p:spPr>
          <a:xfrm>
            <a:off x="7722194" y="4688072"/>
            <a:ext cx="484632" cy="5334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Calibri" panose="020F0502020204030204"/>
            </a:endParaRPr>
          </a:p>
        </p:txBody>
      </p:sp>
    </p:spTree>
    <p:extLst>
      <p:ext uri="{BB962C8B-B14F-4D97-AF65-F5344CB8AC3E}">
        <p14:creationId xmlns:p14="http://schemas.microsoft.com/office/powerpoint/2010/main" val="4084753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3063" name="Rectangle 173062">
            <a:extLst>
              <a:ext uri="{FF2B5EF4-FFF2-40B4-BE49-F238E27FC236}">
                <a16:creationId xmlns:a16="http://schemas.microsoft.com/office/drawing/2014/main" id="{76EFD3D9-44F0-4267-BCC1-1613E79D82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Calibri" panose="020F0502020204030204"/>
            </a:endParaRPr>
          </a:p>
        </p:txBody>
      </p:sp>
      <p:sp>
        <p:nvSpPr>
          <p:cNvPr id="173065" name="Freeform 6">
            <a:extLst>
              <a:ext uri="{FF2B5EF4-FFF2-40B4-BE49-F238E27FC236}">
                <a16:creationId xmlns:a16="http://schemas.microsoft.com/office/drawing/2014/main" id="{A779A851-95D6-41AF-937A-B0E4B7F6FA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630624" y="900815"/>
            <a:ext cx="569713" cy="5710965"/>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prstClr val="black"/>
              </a:solidFill>
              <a:latin typeface="Arial" charset="0"/>
              <a:cs typeface="Arial" charset="0"/>
            </a:endParaRPr>
          </a:p>
        </p:txBody>
      </p:sp>
      <p:sp>
        <p:nvSpPr>
          <p:cNvPr id="173067" name="Freeform 7">
            <a:extLst>
              <a:ext uri="{FF2B5EF4-FFF2-40B4-BE49-F238E27FC236}">
                <a16:creationId xmlns:a16="http://schemas.microsoft.com/office/drawing/2014/main" id="{953FB2E7-B6CB-429C-81EB-D9516D6D5C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632328" y="633165"/>
            <a:ext cx="361991" cy="5521414"/>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prstClr val="black"/>
              </a:solidFill>
              <a:latin typeface="Arial" charset="0"/>
              <a:cs typeface="Arial" charset="0"/>
            </a:endParaRPr>
          </a:p>
        </p:txBody>
      </p:sp>
      <p:sp>
        <p:nvSpPr>
          <p:cNvPr id="173069" name="Freeform: Shape 173068">
            <a:extLst>
              <a:ext uri="{FF2B5EF4-FFF2-40B4-BE49-F238E27FC236}">
                <a16:creationId xmlns:a16="http://schemas.microsoft.com/office/drawing/2014/main" id="{2EC40DB1-B719-4A13-9A4D-0966B4B278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99966" y="636724"/>
            <a:ext cx="3000047" cy="5257799"/>
          </a:xfrm>
          <a:custGeom>
            <a:avLst/>
            <a:gdLst>
              <a:gd name="connsiteX0" fmla="*/ 0 w 4634682"/>
              <a:gd name="connsiteY0" fmla="*/ 0 h 5257799"/>
              <a:gd name="connsiteX1" fmla="*/ 4634682 w 4634682"/>
              <a:gd name="connsiteY1" fmla="*/ 0 h 5257799"/>
              <a:gd name="connsiteX2" fmla="*/ 4634682 w 4634682"/>
              <a:gd name="connsiteY2" fmla="*/ 5257799 h 5257799"/>
              <a:gd name="connsiteX3" fmla="*/ 0 w 4634682"/>
              <a:gd name="connsiteY3" fmla="*/ 5257799 h 5257799"/>
            </a:gdLst>
            <a:ahLst/>
            <a:cxnLst>
              <a:cxn ang="0">
                <a:pos x="connsiteX0" y="connsiteY0"/>
              </a:cxn>
              <a:cxn ang="0">
                <a:pos x="connsiteX1" y="connsiteY1"/>
              </a:cxn>
              <a:cxn ang="0">
                <a:pos x="connsiteX2" y="connsiteY2"/>
              </a:cxn>
              <a:cxn ang="0">
                <a:pos x="connsiteX3" y="connsiteY3"/>
              </a:cxn>
            </a:cxnLst>
            <a:rect l="l" t="t" r="r" b="b"/>
            <a:pathLst>
              <a:path w="4634682" h="5257799">
                <a:moveTo>
                  <a:pt x="0" y="0"/>
                </a:moveTo>
                <a:lnTo>
                  <a:pt x="4634682" y="0"/>
                </a:lnTo>
                <a:lnTo>
                  <a:pt x="4634682" y="5257799"/>
                </a:lnTo>
                <a:lnTo>
                  <a:pt x="0" y="5257799"/>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a:solidFill>
                <a:prstClr val="white"/>
              </a:solidFill>
              <a:latin typeface="Calibri" panose="020F0502020204030204"/>
            </a:endParaRPr>
          </a:p>
        </p:txBody>
      </p:sp>
      <p:sp>
        <p:nvSpPr>
          <p:cNvPr id="173057" name="Title 1">
            <a:extLst>
              <a:ext uri="{FF2B5EF4-FFF2-40B4-BE49-F238E27FC236}">
                <a16:creationId xmlns:a16="http://schemas.microsoft.com/office/drawing/2014/main" id="{8DB04780-AADC-D9AA-9583-C29FEB90EF0C}"/>
              </a:ext>
            </a:extLst>
          </p:cNvPr>
          <p:cNvSpPr>
            <a:spLocks noGrp="1" noChangeArrowheads="1"/>
          </p:cNvSpPr>
          <p:nvPr>
            <p:ph type="title"/>
          </p:nvPr>
        </p:nvSpPr>
        <p:spPr>
          <a:xfrm>
            <a:off x="2225154" y="982272"/>
            <a:ext cx="2541314" cy="4560970"/>
          </a:xfrm>
        </p:spPr>
        <p:txBody>
          <a:bodyPr>
            <a:normAutofit/>
          </a:bodyPr>
          <a:lstStyle/>
          <a:p>
            <a:r>
              <a:rPr lang="en-US" altLang="en-US" sz="3500">
                <a:solidFill>
                  <a:srgbClr val="FFFFFF"/>
                </a:solidFill>
              </a:rPr>
              <a:t>SB 855 California</a:t>
            </a:r>
          </a:p>
        </p:txBody>
      </p:sp>
      <p:sp>
        <p:nvSpPr>
          <p:cNvPr id="173071" name="Rectangle 8">
            <a:extLst>
              <a:ext uri="{FF2B5EF4-FFF2-40B4-BE49-F238E27FC236}">
                <a16:creationId xmlns:a16="http://schemas.microsoft.com/office/drawing/2014/main" id="{82211336-CFF3-412D-868A-6679C1004C4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5200336" y="1352302"/>
            <a:ext cx="4991698" cy="525164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prstClr val="black"/>
              </a:solidFill>
              <a:latin typeface="Arial" charset="0"/>
              <a:cs typeface="Arial" charset="0"/>
            </a:endParaRPr>
          </a:p>
        </p:txBody>
      </p:sp>
      <p:sp>
        <p:nvSpPr>
          <p:cNvPr id="173058" name="Content Placeholder 2">
            <a:extLst>
              <a:ext uri="{FF2B5EF4-FFF2-40B4-BE49-F238E27FC236}">
                <a16:creationId xmlns:a16="http://schemas.microsoft.com/office/drawing/2014/main" id="{6DD91FC7-D90D-E97A-F78E-A0D4EA8120B1}"/>
              </a:ext>
            </a:extLst>
          </p:cNvPr>
          <p:cNvSpPr>
            <a:spLocks noGrp="1" noChangeArrowheads="1"/>
          </p:cNvSpPr>
          <p:nvPr>
            <p:ph idx="1"/>
          </p:nvPr>
        </p:nvSpPr>
        <p:spPr>
          <a:xfrm>
            <a:off x="5440397" y="1719619"/>
            <a:ext cx="4461623" cy="4334629"/>
          </a:xfrm>
        </p:spPr>
        <p:txBody>
          <a:bodyPr anchor="ctr">
            <a:normAutofit/>
          </a:bodyPr>
          <a:lstStyle/>
          <a:p>
            <a:r>
              <a:rPr lang="en-US" altLang="en-US" sz="1600">
                <a:solidFill>
                  <a:srgbClr val="FEFFFF"/>
                </a:solidFill>
              </a:rPr>
              <a:t>1374.721. (a) A health care service plan . . .shall base any medical necessity determination or the utilization review criteria . . .on current generally accepted standards of mental health and substance use disorder care.</a:t>
            </a:r>
          </a:p>
          <a:p>
            <a:r>
              <a:rPr lang="en-US" altLang="en-US" sz="1600">
                <a:solidFill>
                  <a:srgbClr val="FEFFFF"/>
                </a:solidFill>
              </a:rPr>
              <a:t>(b) In conducting utilization review . . . shall apply the criteria and guidelines set forth in the most recent versions of treatment criteria developed by the </a:t>
            </a:r>
            <a:r>
              <a:rPr lang="en-US" altLang="en-US" sz="1600" b="1">
                <a:solidFill>
                  <a:srgbClr val="FEFFFF"/>
                </a:solidFill>
              </a:rPr>
              <a:t>nonprofit professional association </a:t>
            </a:r>
            <a:r>
              <a:rPr lang="en-US" altLang="en-US" sz="1600">
                <a:solidFill>
                  <a:srgbClr val="FEFFFF"/>
                </a:solidFill>
              </a:rPr>
              <a:t>for the relevant clinical specialty.</a:t>
            </a:r>
          </a:p>
          <a:p>
            <a:r>
              <a:rPr lang="en-US" altLang="en-US" sz="1600">
                <a:solidFill>
                  <a:srgbClr val="FEFFFF"/>
                </a:solidFill>
              </a:rPr>
              <a:t>(c) In conducting utilization review . . . shall not apply different, additional, conflicting, or more restrictive utilization review criteria than the criteria and guidelines set forth in those sources. </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75A4E-E786-134D-C56F-3A6DDB73D782}"/>
              </a:ext>
            </a:extLst>
          </p:cNvPr>
          <p:cNvSpPr>
            <a:spLocks noGrp="1"/>
          </p:cNvSpPr>
          <p:nvPr>
            <p:ph type="title"/>
          </p:nvPr>
        </p:nvSpPr>
        <p:spPr/>
        <p:txBody>
          <a:bodyPr/>
          <a:lstStyle/>
          <a:p>
            <a:r>
              <a:rPr lang="en-US" dirty="0"/>
              <a:t>Ramstad Model Legislation – The Kennedy Forum	</a:t>
            </a:r>
          </a:p>
        </p:txBody>
      </p:sp>
      <p:sp>
        <p:nvSpPr>
          <p:cNvPr id="3" name="Content Placeholder 2">
            <a:extLst>
              <a:ext uri="{FF2B5EF4-FFF2-40B4-BE49-F238E27FC236}">
                <a16:creationId xmlns:a16="http://schemas.microsoft.com/office/drawing/2014/main" id="{B2F6323F-408E-2C57-B313-AB710202B0C1}"/>
              </a:ext>
            </a:extLst>
          </p:cNvPr>
          <p:cNvSpPr>
            <a:spLocks noGrp="1"/>
          </p:cNvSpPr>
          <p:nvPr>
            <p:ph idx="1"/>
          </p:nvPr>
        </p:nvSpPr>
        <p:spPr/>
        <p:txBody>
          <a:bodyPr/>
          <a:lstStyle/>
          <a:p>
            <a:r>
              <a:rPr lang="en-US" dirty="0">
                <a:hlinkClick r:id="rId2"/>
              </a:rPr>
              <a:t>https://www.thekennedyforum.org/app/uploads/2021/05/Ramstad-Model-Legislation-May-2021.pdf</a:t>
            </a:r>
            <a:endParaRPr lang="en-US" dirty="0"/>
          </a:p>
          <a:p>
            <a:r>
              <a:rPr lang="en-US" sz="1800" b="1" dirty="0">
                <a:effectLst/>
                <a:latin typeface="Calibri" panose="020F0502020204030204" pitchFamily="34" charset="0"/>
              </a:rPr>
              <a:t>Jim Ramstad Model State Legislation to Advance Mental Health and Addiction Equity By Requiring Compliance with Generally Accepted Standards of Care </a:t>
            </a:r>
            <a:endParaRPr lang="en-US" dirty="0"/>
          </a:p>
          <a:p>
            <a:pPr marL="0" indent="0">
              <a:buNone/>
            </a:pPr>
            <a:endParaRPr lang="en-US" dirty="0"/>
          </a:p>
          <a:p>
            <a:r>
              <a:rPr lang="en-US" dirty="0"/>
              <a:t>Illinois</a:t>
            </a:r>
          </a:p>
          <a:p>
            <a:r>
              <a:rPr lang="en-US" dirty="0"/>
              <a:t>Oregon </a:t>
            </a:r>
          </a:p>
          <a:p>
            <a:r>
              <a:rPr lang="en-US" dirty="0"/>
              <a:t>Georgia</a:t>
            </a:r>
          </a:p>
          <a:p>
            <a:r>
              <a:rPr lang="en-US" dirty="0"/>
              <a:t>New Mexico</a:t>
            </a:r>
          </a:p>
          <a:p>
            <a:pPr marL="0" indent="0">
              <a:buNone/>
            </a:pPr>
            <a:endParaRPr lang="en-US" dirty="0"/>
          </a:p>
          <a:p>
            <a:endParaRPr lang="en-US" dirty="0"/>
          </a:p>
        </p:txBody>
      </p:sp>
    </p:spTree>
    <p:extLst>
      <p:ext uri="{BB962C8B-B14F-4D97-AF65-F5344CB8AC3E}">
        <p14:creationId xmlns:p14="http://schemas.microsoft.com/office/powerpoint/2010/main" val="35091777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819A166-7571-4003-A6B8-B62034C3ED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38199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solidFill>
              <a:latin typeface="Calibri" panose="020F0502020204030204"/>
            </a:endParaRPr>
          </a:p>
        </p:txBody>
      </p:sp>
      <p:sp>
        <p:nvSpPr>
          <p:cNvPr id="2" name="Title 1">
            <a:extLst>
              <a:ext uri="{FF2B5EF4-FFF2-40B4-BE49-F238E27FC236}">
                <a16:creationId xmlns:a16="http://schemas.microsoft.com/office/drawing/2014/main" id="{38603673-4B23-D475-844E-74A9A2B3DDDA}"/>
              </a:ext>
            </a:extLst>
          </p:cNvPr>
          <p:cNvSpPr>
            <a:spLocks noGrp="1"/>
          </p:cNvSpPr>
          <p:nvPr>
            <p:ph type="title"/>
          </p:nvPr>
        </p:nvSpPr>
        <p:spPr>
          <a:xfrm>
            <a:off x="1917556" y="620392"/>
            <a:ext cx="2972943" cy="5504688"/>
          </a:xfrm>
        </p:spPr>
        <p:txBody>
          <a:bodyPr>
            <a:normAutofit/>
          </a:bodyPr>
          <a:lstStyle/>
          <a:p>
            <a:r>
              <a:rPr lang="en-US" sz="4400" b="1" dirty="0">
                <a:solidFill>
                  <a:schemeClr val="bg1"/>
                </a:solidFill>
              </a:rPr>
              <a:t>The Importance and </a:t>
            </a:r>
            <a:br>
              <a:rPr lang="en-US" sz="4400" b="1" dirty="0">
                <a:solidFill>
                  <a:schemeClr val="bg1"/>
                </a:solidFill>
              </a:rPr>
            </a:br>
            <a:r>
              <a:rPr lang="en-US" sz="4400" b="1" dirty="0">
                <a:solidFill>
                  <a:schemeClr val="bg1"/>
                </a:solidFill>
              </a:rPr>
              <a:t>Legal Significance of Clinical</a:t>
            </a:r>
            <a:br>
              <a:rPr lang="en-US" sz="4400" b="1" dirty="0">
                <a:solidFill>
                  <a:schemeClr val="bg1"/>
                </a:solidFill>
              </a:rPr>
            </a:br>
            <a:r>
              <a:rPr lang="en-US" sz="4400" b="1" dirty="0">
                <a:solidFill>
                  <a:schemeClr val="bg1"/>
                </a:solidFill>
              </a:rPr>
              <a:t>Standards</a:t>
            </a:r>
          </a:p>
        </p:txBody>
      </p:sp>
      <p:graphicFrame>
        <p:nvGraphicFramePr>
          <p:cNvPr id="5" name="Content Placeholder 2">
            <a:extLst>
              <a:ext uri="{FF2B5EF4-FFF2-40B4-BE49-F238E27FC236}">
                <a16:creationId xmlns:a16="http://schemas.microsoft.com/office/drawing/2014/main" id="{ED713672-48BC-8012-E2D6-F8033D62BCB7}"/>
              </a:ext>
            </a:extLst>
          </p:cNvPr>
          <p:cNvGraphicFramePr>
            <a:graphicFrameLocks noGrp="1"/>
          </p:cNvGraphicFramePr>
          <p:nvPr>
            <p:ph idx="1"/>
          </p:nvPr>
        </p:nvGraphicFramePr>
        <p:xfrm>
          <a:off x="5625291" y="620392"/>
          <a:ext cx="4697730" cy="55046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Down Arrow 2">
            <a:extLst>
              <a:ext uri="{FF2B5EF4-FFF2-40B4-BE49-F238E27FC236}">
                <a16:creationId xmlns:a16="http://schemas.microsoft.com/office/drawing/2014/main" id="{1C9CE241-DBFE-FF2C-D9C4-20223AAED5BF}"/>
              </a:ext>
            </a:extLst>
          </p:cNvPr>
          <p:cNvSpPr/>
          <p:nvPr/>
        </p:nvSpPr>
        <p:spPr>
          <a:xfrm>
            <a:off x="7731840" y="1524000"/>
            <a:ext cx="484632" cy="5334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Calibri" panose="020F0502020204030204"/>
            </a:endParaRPr>
          </a:p>
        </p:txBody>
      </p:sp>
      <p:sp>
        <p:nvSpPr>
          <p:cNvPr id="4" name="Down Arrow 3">
            <a:extLst>
              <a:ext uri="{FF2B5EF4-FFF2-40B4-BE49-F238E27FC236}">
                <a16:creationId xmlns:a16="http://schemas.microsoft.com/office/drawing/2014/main" id="{5E2479AB-23C2-4C6D-42C2-52B5FA59DE61}"/>
              </a:ext>
            </a:extLst>
          </p:cNvPr>
          <p:cNvSpPr/>
          <p:nvPr/>
        </p:nvSpPr>
        <p:spPr>
          <a:xfrm>
            <a:off x="7731840" y="3106036"/>
            <a:ext cx="484632" cy="5334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Calibri" panose="020F0502020204030204"/>
            </a:endParaRPr>
          </a:p>
        </p:txBody>
      </p:sp>
      <p:sp>
        <p:nvSpPr>
          <p:cNvPr id="6" name="Down Arrow 5">
            <a:extLst>
              <a:ext uri="{FF2B5EF4-FFF2-40B4-BE49-F238E27FC236}">
                <a16:creationId xmlns:a16="http://schemas.microsoft.com/office/drawing/2014/main" id="{E87B429C-4390-1DE0-1E8F-21F78B2FEA5D}"/>
              </a:ext>
            </a:extLst>
          </p:cNvPr>
          <p:cNvSpPr/>
          <p:nvPr/>
        </p:nvSpPr>
        <p:spPr>
          <a:xfrm>
            <a:off x="7722194" y="4688072"/>
            <a:ext cx="484632" cy="5334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Calibri" panose="020F0502020204030204"/>
            </a:endParaRPr>
          </a:p>
        </p:txBody>
      </p:sp>
    </p:spTree>
    <p:extLst>
      <p:ext uri="{BB962C8B-B14F-4D97-AF65-F5344CB8AC3E}">
        <p14:creationId xmlns:p14="http://schemas.microsoft.com/office/powerpoint/2010/main" val="26403695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37B308-7B44-E483-9FF9-A1C0A7E1143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3E06B5E8-A17D-687E-9514-2AD474732E94}"/>
              </a:ext>
            </a:extLst>
          </p:cNvPr>
          <p:cNvSpPr>
            <a:spLocks noGrp="1"/>
          </p:cNvSpPr>
          <p:nvPr>
            <p:ph idx="1"/>
          </p:nvPr>
        </p:nvSpPr>
        <p:spPr>
          <a:xfrm>
            <a:off x="1752601" y="-29678"/>
            <a:ext cx="8753375" cy="4525963"/>
          </a:xfrm>
        </p:spPr>
        <p:txBody>
          <a:bodyPr/>
          <a:lstStyle/>
          <a:p>
            <a:pPr marL="0" indent="0">
              <a:spcBef>
                <a:spcPts val="0"/>
              </a:spcBef>
              <a:spcAft>
                <a:spcPts val="0"/>
              </a:spcAft>
              <a:buNone/>
            </a:pPr>
            <a:br>
              <a:rPr lang="en-US" sz="1200" b="1" dirty="0">
                <a:solidFill>
                  <a:srgbClr val="000000"/>
                </a:solidFill>
                <a:latin typeface="TimesNewRomanPS"/>
              </a:rPr>
            </a:br>
            <a:r>
              <a:rPr lang="en-US" sz="1200" b="1" dirty="0">
                <a:solidFill>
                  <a:srgbClr val="000000"/>
                </a:solidFill>
                <a:latin typeface="TimesNewRomanPS"/>
              </a:rPr>
              <a:t>STATE OF CALIFORNIA DEPARTMENT OF INSURANCE </a:t>
            </a:r>
            <a:endParaRPr lang="en-US" sz="1000" dirty="0">
              <a:solidFill>
                <a:srgbClr val="000000"/>
              </a:solidFill>
              <a:latin typeface="Calibri" panose="020F0502020204030204" pitchFamily="34" charset="0"/>
            </a:endParaRPr>
          </a:p>
          <a:p>
            <a:pPr marL="0" indent="0">
              <a:spcBef>
                <a:spcPts val="0"/>
              </a:spcBef>
              <a:spcAft>
                <a:spcPts val="0"/>
              </a:spcAft>
              <a:buNone/>
            </a:pPr>
            <a:r>
              <a:rPr lang="en-US" sz="1200" b="1" dirty="0">
                <a:solidFill>
                  <a:srgbClr val="000000"/>
                </a:solidFill>
                <a:latin typeface="TimesNewRomanPS"/>
              </a:rPr>
              <a:t>MENTAL HEALTH AND SUBSTANCE USE DISORDER PARITY IN HEALTH INSURANCE </a:t>
            </a:r>
            <a:endParaRPr lang="en-US" sz="1000" dirty="0">
              <a:solidFill>
                <a:srgbClr val="000000"/>
              </a:solidFill>
              <a:latin typeface="Calibri" panose="020F0502020204030204" pitchFamily="34" charset="0"/>
            </a:endParaRPr>
          </a:p>
          <a:p>
            <a:pPr marL="0" indent="0">
              <a:spcBef>
                <a:spcPts val="0"/>
              </a:spcBef>
              <a:spcAft>
                <a:spcPts val="0"/>
              </a:spcAft>
              <a:buNone/>
            </a:pPr>
            <a:r>
              <a:rPr lang="en-US" sz="1200" dirty="0">
                <a:solidFill>
                  <a:srgbClr val="000000"/>
                </a:solidFill>
                <a:latin typeface="TimesNewRomanPSMT"/>
              </a:rPr>
              <a:t>Adopt: Section 2562.02. Required Clinical Criteria for Mental Health Conditions and Substance Use Disorders. </a:t>
            </a:r>
            <a:endParaRPr lang="en-US" sz="1000" dirty="0">
              <a:solidFill>
                <a:srgbClr val="000000"/>
              </a:solidFill>
              <a:latin typeface="Calibri" panose="020F0502020204030204" pitchFamily="34" charset="0"/>
            </a:endParaRPr>
          </a:p>
          <a:p>
            <a:pPr marL="0" indent="0">
              <a:spcBef>
                <a:spcPts val="0"/>
              </a:spcBef>
              <a:spcAft>
                <a:spcPts val="0"/>
              </a:spcAft>
              <a:buNone/>
            </a:pPr>
            <a:endParaRPr lang="en-US" sz="1200" dirty="0">
              <a:solidFill>
                <a:srgbClr val="000000"/>
              </a:solidFill>
              <a:latin typeface="TimesNewRomanPSMT"/>
            </a:endParaRPr>
          </a:p>
          <a:p>
            <a:pPr marL="0" indent="0">
              <a:spcBef>
                <a:spcPts val="0"/>
              </a:spcBef>
              <a:spcAft>
                <a:spcPts val="0"/>
              </a:spcAft>
              <a:buNone/>
            </a:pPr>
            <a:r>
              <a:rPr lang="en-US" sz="1200" dirty="0">
                <a:solidFill>
                  <a:srgbClr val="000000"/>
                </a:solidFill>
                <a:latin typeface="TimesNewRomanPSMT"/>
              </a:rPr>
              <a:t>(a)  An insurer shall base any medical necessity determination, and the utilization review criteria that the insurer, or any entity acting on the insurer’s behalf, applies to determine the medical necessity of health care services and benefits for the diagnosis, prevention, and treatment of mental health conditions and substance use disorders, on current generally accepted standards of mental health and substance use disorder care. </a:t>
            </a:r>
            <a:endParaRPr lang="en-US" sz="1000" dirty="0">
              <a:solidFill>
                <a:srgbClr val="000000"/>
              </a:solidFill>
              <a:latin typeface="Calibri" panose="020F0502020204030204" pitchFamily="34" charset="0"/>
            </a:endParaRPr>
          </a:p>
          <a:p>
            <a:pPr marL="0" indent="0">
              <a:spcBef>
                <a:spcPts val="0"/>
              </a:spcBef>
              <a:spcAft>
                <a:spcPts val="0"/>
              </a:spcAft>
              <a:buNone/>
            </a:pPr>
            <a:endParaRPr lang="en-US" sz="1200" dirty="0">
              <a:solidFill>
                <a:srgbClr val="000000"/>
              </a:solidFill>
              <a:latin typeface="TimesNewRomanPSMT"/>
            </a:endParaRPr>
          </a:p>
          <a:p>
            <a:pPr marL="0" indent="0">
              <a:spcBef>
                <a:spcPts val="0"/>
              </a:spcBef>
              <a:spcAft>
                <a:spcPts val="0"/>
              </a:spcAft>
              <a:buNone/>
            </a:pPr>
            <a:r>
              <a:rPr lang="en-US" sz="1200" dirty="0">
                <a:solidFill>
                  <a:srgbClr val="000000"/>
                </a:solidFill>
                <a:latin typeface="TimesNewRomanPSMT"/>
              </a:rPr>
              <a:t>(b)  In conducting utilization review of a health care benefit for a mental health condition or substance use disorder in children, adolescents, or adults, an insurer shall: </a:t>
            </a:r>
            <a:endParaRPr lang="en-US" sz="1000" dirty="0">
              <a:solidFill>
                <a:srgbClr val="000000"/>
              </a:solidFill>
              <a:latin typeface="Calibri" panose="020F0502020204030204" pitchFamily="34" charset="0"/>
            </a:endParaRPr>
          </a:p>
          <a:p>
            <a:pPr marL="457200" lvl="1" indent="0">
              <a:spcBef>
                <a:spcPts val="0"/>
              </a:spcBef>
              <a:spcAft>
                <a:spcPts val="0"/>
              </a:spcAft>
              <a:buNone/>
            </a:pPr>
            <a:r>
              <a:rPr lang="en-US" sz="1200" dirty="0">
                <a:solidFill>
                  <a:srgbClr val="000000"/>
                </a:solidFill>
                <a:latin typeface="TimesNewRomanPSMT"/>
              </a:rPr>
              <a:t>(1)  Apply the clinical criteria and guidelines set forth in the most recent versions of treatment criteria developed by nonprofit professional associations for the relevant clinical specialty. </a:t>
            </a:r>
            <a:endParaRPr lang="en-US" sz="1000" dirty="0">
              <a:solidFill>
                <a:srgbClr val="000000"/>
              </a:solidFill>
              <a:latin typeface="Calibri" panose="020F0502020204030204" pitchFamily="34" charset="0"/>
            </a:endParaRPr>
          </a:p>
          <a:p>
            <a:pPr marL="457200" lvl="1" indent="0">
              <a:spcBef>
                <a:spcPts val="0"/>
              </a:spcBef>
              <a:spcAft>
                <a:spcPts val="0"/>
              </a:spcAft>
              <a:buNone/>
            </a:pPr>
            <a:r>
              <a:rPr lang="en-US" sz="1200" dirty="0">
                <a:solidFill>
                  <a:srgbClr val="000000"/>
                </a:solidFill>
                <a:latin typeface="TimesNewRomanPSMT"/>
              </a:rPr>
              <a:t>(2)  Not apply different, additional, conflicting, or more restrictive utilization review criteria than the clinical criteria and guidelines set forth in the most recent versions of treatment criteria developed by nonprofit professional associations for the relevant clinical specialty. </a:t>
            </a:r>
            <a:endParaRPr lang="en-US" sz="1000" dirty="0">
              <a:solidFill>
                <a:srgbClr val="000000"/>
              </a:solidFill>
              <a:latin typeface="Calibri" panose="020F0502020204030204" pitchFamily="34" charset="0"/>
            </a:endParaRPr>
          </a:p>
          <a:p>
            <a:pPr marL="0" indent="0">
              <a:spcBef>
                <a:spcPts val="0"/>
              </a:spcBef>
              <a:spcAft>
                <a:spcPts val="0"/>
              </a:spcAft>
              <a:buNone/>
            </a:pPr>
            <a:endParaRPr lang="en-US" sz="1200" dirty="0">
              <a:solidFill>
                <a:srgbClr val="000000"/>
              </a:solidFill>
              <a:latin typeface="TimesNewRomanPSMT"/>
            </a:endParaRPr>
          </a:p>
          <a:p>
            <a:pPr marL="0" indent="0">
              <a:spcBef>
                <a:spcPts val="0"/>
              </a:spcBef>
              <a:spcAft>
                <a:spcPts val="0"/>
              </a:spcAft>
              <a:buNone/>
            </a:pPr>
            <a:r>
              <a:rPr lang="en-US" sz="1200" dirty="0">
                <a:solidFill>
                  <a:srgbClr val="000000"/>
                </a:solidFill>
                <a:latin typeface="TimesNewRomanPSMT"/>
              </a:rPr>
              <a:t>(c) (1) An insurer shall apply the clinical criteria and guidelines set forth in the most recent versions of treatment criteria developed by nonprofit professional associations for the relevant clinical specialty, including recommendations based on consensus expert opinion, whenever their application would determine the medical necessity of a health care benefit for a mental health condition or substance use disorder that is under consideration in utilization review. Subject to subdivisions (c)(2) and (c)(3) of this section, clinical criteria developed by the following nonprofit professional associations, and any other nonprofit professional associations that are not specified in this subdivision, shall be used exclusively to make utilization review coverage determinations that are within the scope of the criteria: </a:t>
            </a:r>
            <a:endParaRPr lang="en-US" sz="1000" dirty="0">
              <a:solidFill>
                <a:srgbClr val="000000"/>
              </a:solidFill>
              <a:latin typeface="Calibri" panose="020F0502020204030204" pitchFamily="34" charset="0"/>
            </a:endParaRPr>
          </a:p>
          <a:p>
            <a:pPr marL="457200">
              <a:spcBef>
                <a:spcPts val="0"/>
              </a:spcBef>
              <a:spcAft>
                <a:spcPts val="0"/>
              </a:spcAft>
            </a:pPr>
            <a:r>
              <a:rPr lang="en-US" sz="1200" dirty="0">
                <a:solidFill>
                  <a:srgbClr val="000000"/>
                </a:solidFill>
                <a:latin typeface="TimesNewRomanPSMT"/>
              </a:rPr>
              <a:t>(A)  American Academy of Child and Adolescent Psychiatry. </a:t>
            </a:r>
            <a:endParaRPr lang="en-US" sz="1000" dirty="0">
              <a:solidFill>
                <a:srgbClr val="000000"/>
              </a:solidFill>
              <a:latin typeface="Calibri" panose="020F0502020204030204" pitchFamily="34" charset="0"/>
            </a:endParaRPr>
          </a:p>
          <a:p>
            <a:pPr marL="457200">
              <a:spcBef>
                <a:spcPts val="0"/>
              </a:spcBef>
              <a:spcAft>
                <a:spcPts val="0"/>
              </a:spcAft>
            </a:pPr>
            <a:r>
              <a:rPr lang="en-US" sz="1200" dirty="0">
                <a:solidFill>
                  <a:srgbClr val="000000"/>
                </a:solidFill>
                <a:latin typeface="TimesNewRomanPSMT"/>
              </a:rPr>
              <a:t>(B)  American Academy of Family Physicians. </a:t>
            </a:r>
            <a:endParaRPr lang="en-US" sz="1000" dirty="0">
              <a:solidFill>
                <a:srgbClr val="000000"/>
              </a:solidFill>
              <a:latin typeface="Calibri" panose="020F0502020204030204" pitchFamily="34" charset="0"/>
            </a:endParaRPr>
          </a:p>
          <a:p>
            <a:pPr marL="457200">
              <a:spcBef>
                <a:spcPts val="0"/>
              </a:spcBef>
              <a:spcAft>
                <a:spcPts val="0"/>
              </a:spcAft>
            </a:pPr>
            <a:r>
              <a:rPr lang="en-US" sz="1200" dirty="0">
                <a:solidFill>
                  <a:srgbClr val="000000"/>
                </a:solidFill>
                <a:latin typeface="TimesNewRomanPSMT"/>
              </a:rPr>
              <a:t>(C)  American Academy of Neurology. </a:t>
            </a:r>
            <a:endParaRPr lang="en-US" sz="1000" dirty="0">
              <a:solidFill>
                <a:srgbClr val="000000"/>
              </a:solidFill>
              <a:latin typeface="Calibri" panose="020F0502020204030204" pitchFamily="34" charset="0"/>
            </a:endParaRPr>
          </a:p>
          <a:p>
            <a:pPr marL="457200">
              <a:spcBef>
                <a:spcPts val="0"/>
              </a:spcBef>
              <a:spcAft>
                <a:spcPts val="0"/>
              </a:spcAft>
            </a:pPr>
            <a:r>
              <a:rPr lang="en-US" sz="1200" dirty="0">
                <a:solidFill>
                  <a:srgbClr val="000000"/>
                </a:solidFill>
                <a:latin typeface="TimesNewRomanPSMT"/>
              </a:rPr>
              <a:t>(D)  American Academy of Pediatrics. </a:t>
            </a:r>
            <a:endParaRPr lang="en-US" sz="1000" dirty="0">
              <a:solidFill>
                <a:srgbClr val="000000"/>
              </a:solidFill>
              <a:latin typeface="Calibri" panose="020F0502020204030204" pitchFamily="34" charset="0"/>
            </a:endParaRPr>
          </a:p>
          <a:p>
            <a:pPr marL="457200">
              <a:spcBef>
                <a:spcPts val="0"/>
              </a:spcBef>
              <a:spcAft>
                <a:spcPts val="0"/>
              </a:spcAft>
            </a:pPr>
            <a:r>
              <a:rPr lang="en-US" sz="1200" dirty="0">
                <a:solidFill>
                  <a:srgbClr val="000000"/>
                </a:solidFill>
                <a:latin typeface="TimesNewRomanPSMT"/>
              </a:rPr>
              <a:t>(E)  American Academy of Sleep Medicine. </a:t>
            </a:r>
            <a:endParaRPr lang="en-US" sz="1000" dirty="0">
              <a:solidFill>
                <a:srgbClr val="000000"/>
              </a:solidFill>
              <a:latin typeface="Calibri" panose="020F0502020204030204" pitchFamily="34" charset="0"/>
            </a:endParaRPr>
          </a:p>
          <a:p>
            <a:pPr marL="457200">
              <a:spcBef>
                <a:spcPts val="0"/>
              </a:spcBef>
              <a:spcAft>
                <a:spcPts val="0"/>
              </a:spcAft>
            </a:pPr>
            <a:r>
              <a:rPr lang="en-US" sz="1200" dirty="0">
                <a:solidFill>
                  <a:srgbClr val="000000"/>
                </a:solidFill>
                <a:latin typeface="TimesNewRomanPSMT"/>
              </a:rPr>
              <a:t>(F)  American Association for Community Psychiatry. </a:t>
            </a:r>
            <a:endParaRPr lang="en-US" sz="1000" dirty="0">
              <a:solidFill>
                <a:srgbClr val="000000"/>
              </a:solidFill>
              <a:latin typeface="Calibri" panose="020F0502020204030204" pitchFamily="34" charset="0"/>
            </a:endParaRPr>
          </a:p>
          <a:p>
            <a:pPr marL="457200">
              <a:spcBef>
                <a:spcPts val="0"/>
              </a:spcBef>
              <a:spcAft>
                <a:spcPts val="0"/>
              </a:spcAft>
            </a:pPr>
            <a:r>
              <a:rPr lang="en-US" sz="1200" dirty="0">
                <a:solidFill>
                  <a:srgbClr val="000000"/>
                </a:solidFill>
                <a:latin typeface="TimesNewRomanPSMT"/>
              </a:rPr>
              <a:t>(G)  American College of Physicians. </a:t>
            </a:r>
            <a:endParaRPr lang="en-US" sz="1000" dirty="0">
              <a:solidFill>
                <a:srgbClr val="000000"/>
              </a:solidFill>
              <a:latin typeface="Calibri" panose="020F0502020204030204" pitchFamily="34" charset="0"/>
            </a:endParaRPr>
          </a:p>
          <a:p>
            <a:pPr marL="457200">
              <a:spcBef>
                <a:spcPts val="0"/>
              </a:spcBef>
              <a:spcAft>
                <a:spcPts val="0"/>
              </a:spcAft>
            </a:pPr>
            <a:r>
              <a:rPr lang="en-US" sz="1200" dirty="0">
                <a:solidFill>
                  <a:srgbClr val="000000"/>
                </a:solidFill>
                <a:latin typeface="TimesNewRomanPSMT"/>
              </a:rPr>
              <a:t>(H)  American Medical Association. </a:t>
            </a:r>
            <a:endParaRPr lang="en-US" sz="1000" dirty="0">
              <a:solidFill>
                <a:srgbClr val="000000"/>
              </a:solidFill>
              <a:latin typeface="Calibri" panose="020F0502020204030204" pitchFamily="34" charset="0"/>
            </a:endParaRPr>
          </a:p>
          <a:p>
            <a:pPr marL="457200">
              <a:spcBef>
                <a:spcPts val="0"/>
              </a:spcBef>
              <a:spcAft>
                <a:spcPts val="0"/>
              </a:spcAft>
            </a:pPr>
            <a:r>
              <a:rPr lang="en-US" sz="1200" dirty="0">
                <a:solidFill>
                  <a:srgbClr val="000000"/>
                </a:solidFill>
                <a:latin typeface="TimesNewRomanPSMT"/>
              </a:rPr>
              <a:t>(I)  American Psychiatric Association. </a:t>
            </a:r>
            <a:endParaRPr lang="en-US" sz="1000" dirty="0">
              <a:solidFill>
                <a:srgbClr val="000000"/>
              </a:solidFill>
              <a:latin typeface="Calibri" panose="020F0502020204030204" pitchFamily="34" charset="0"/>
            </a:endParaRPr>
          </a:p>
          <a:p>
            <a:pPr marL="457200">
              <a:spcBef>
                <a:spcPts val="0"/>
              </a:spcBef>
              <a:spcAft>
                <a:spcPts val="0"/>
              </a:spcAft>
            </a:pPr>
            <a:r>
              <a:rPr lang="en-US" sz="1200" dirty="0">
                <a:solidFill>
                  <a:srgbClr val="000000"/>
                </a:solidFill>
                <a:latin typeface="TimesNewRomanPSMT"/>
              </a:rPr>
              <a:t>(J)  American Psychological Association. </a:t>
            </a:r>
            <a:endParaRPr lang="en-US" sz="1000" dirty="0">
              <a:solidFill>
                <a:srgbClr val="000000"/>
              </a:solidFill>
              <a:latin typeface="Calibri" panose="020F0502020204030204" pitchFamily="34" charset="0"/>
            </a:endParaRPr>
          </a:p>
          <a:p>
            <a:pPr marL="457200">
              <a:spcBef>
                <a:spcPts val="0"/>
              </a:spcBef>
              <a:spcAft>
                <a:spcPts val="0"/>
              </a:spcAft>
            </a:pPr>
            <a:r>
              <a:rPr lang="en-US" sz="1200" dirty="0">
                <a:solidFill>
                  <a:srgbClr val="000000"/>
                </a:solidFill>
                <a:latin typeface="TimesNewRomanPSMT"/>
              </a:rPr>
              <a:t>(K)  American Society of Addiction Medicine. </a:t>
            </a:r>
            <a:endParaRPr lang="en-US" sz="1000" dirty="0">
              <a:solidFill>
                <a:srgbClr val="000000"/>
              </a:solidFill>
              <a:latin typeface="Calibri" panose="020F0502020204030204" pitchFamily="34" charset="0"/>
            </a:endParaRPr>
          </a:p>
          <a:p>
            <a:pPr marL="457200">
              <a:spcBef>
                <a:spcPts val="0"/>
              </a:spcBef>
              <a:spcAft>
                <a:spcPts val="0"/>
              </a:spcAft>
            </a:pPr>
            <a:r>
              <a:rPr lang="en-US" sz="1200" dirty="0">
                <a:solidFill>
                  <a:srgbClr val="000000"/>
                </a:solidFill>
                <a:latin typeface="TimesNewRomanPSMT"/>
              </a:rPr>
              <a:t>(L)  Canadian Network for Mood and Anxiety Treatments. </a:t>
            </a:r>
            <a:endParaRPr lang="en-US" sz="1000" dirty="0">
              <a:solidFill>
                <a:srgbClr val="000000"/>
              </a:solidFill>
              <a:latin typeface="Calibri" panose="020F0502020204030204" pitchFamily="34" charset="0"/>
            </a:endParaRPr>
          </a:p>
          <a:p>
            <a:pPr marL="457200">
              <a:spcBef>
                <a:spcPts val="0"/>
              </a:spcBef>
              <a:spcAft>
                <a:spcPts val="0"/>
              </a:spcAft>
            </a:pPr>
            <a:r>
              <a:rPr lang="en-US" sz="1200" dirty="0">
                <a:solidFill>
                  <a:srgbClr val="000000"/>
                </a:solidFill>
                <a:latin typeface="TimesNewRomanPSMT"/>
              </a:rPr>
              <a:t>(M)  Council of Autism Service Providers.</a:t>
            </a:r>
            <a:r>
              <a:rPr lang="en-US" sz="1200" b="1" dirty="0">
                <a:solidFill>
                  <a:srgbClr val="000000"/>
                </a:solidFill>
                <a:latin typeface="Calibri" panose="020F0502020204030204" pitchFamily="34" charset="0"/>
              </a:rPr>
              <a:t> </a:t>
            </a:r>
            <a:endParaRPr lang="en-US" sz="1000" dirty="0">
              <a:solidFill>
                <a:srgbClr val="000000"/>
              </a:solidFill>
              <a:latin typeface="Calibri" panose="020F0502020204030204" pitchFamily="34" charset="0"/>
            </a:endParaRPr>
          </a:p>
          <a:p>
            <a:endParaRPr lang="en-US" dirty="0"/>
          </a:p>
        </p:txBody>
      </p:sp>
    </p:spTree>
    <p:extLst>
      <p:ext uri="{BB962C8B-B14F-4D97-AF65-F5344CB8AC3E}">
        <p14:creationId xmlns:p14="http://schemas.microsoft.com/office/powerpoint/2010/main" val="4789062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FFE06-6472-558B-DC55-6A87A0334F21}"/>
              </a:ext>
            </a:extLst>
          </p:cNvPr>
          <p:cNvSpPr>
            <a:spLocks noGrp="1"/>
          </p:cNvSpPr>
          <p:nvPr>
            <p:ph type="title"/>
          </p:nvPr>
        </p:nvSpPr>
        <p:spPr>
          <a:xfrm>
            <a:off x="1981200" y="-228600"/>
            <a:ext cx="8229600" cy="1143000"/>
          </a:xfrm>
        </p:spPr>
        <p:txBody>
          <a:bodyPr>
            <a:normAutofit/>
          </a:bodyPr>
          <a:lstStyle/>
          <a:p>
            <a:r>
              <a:rPr lang="en-US" sz="3600" dirty="0"/>
              <a:t>Standards Produced by Nonprofits</a:t>
            </a:r>
          </a:p>
        </p:txBody>
      </p:sp>
      <p:graphicFrame>
        <p:nvGraphicFramePr>
          <p:cNvPr id="4" name="Table 4">
            <a:extLst>
              <a:ext uri="{FF2B5EF4-FFF2-40B4-BE49-F238E27FC236}">
                <a16:creationId xmlns:a16="http://schemas.microsoft.com/office/drawing/2014/main" id="{A2D38375-E90B-D1F4-D179-7094D1D775EF}"/>
              </a:ext>
            </a:extLst>
          </p:cNvPr>
          <p:cNvGraphicFramePr>
            <a:graphicFrameLocks noGrp="1"/>
          </p:cNvGraphicFramePr>
          <p:nvPr>
            <p:ph idx="1"/>
          </p:nvPr>
        </p:nvGraphicFramePr>
        <p:xfrm>
          <a:off x="1702076" y="685801"/>
          <a:ext cx="8787848" cy="6410343"/>
        </p:xfrm>
        <a:graphic>
          <a:graphicData uri="http://schemas.openxmlformats.org/drawingml/2006/table">
            <a:tbl>
              <a:tblPr firstRow="1" bandRow="1">
                <a:tableStyleId>{5C22544A-7EE6-4342-B048-85BDC9FD1C3A}</a:tableStyleId>
              </a:tblPr>
              <a:tblGrid>
                <a:gridCol w="1117324">
                  <a:extLst>
                    <a:ext uri="{9D8B030D-6E8A-4147-A177-3AD203B41FA5}">
                      <a16:colId xmlns:a16="http://schemas.microsoft.com/office/drawing/2014/main" val="3080083105"/>
                    </a:ext>
                  </a:extLst>
                </a:gridCol>
                <a:gridCol w="3352800">
                  <a:extLst>
                    <a:ext uri="{9D8B030D-6E8A-4147-A177-3AD203B41FA5}">
                      <a16:colId xmlns:a16="http://schemas.microsoft.com/office/drawing/2014/main" val="625555638"/>
                    </a:ext>
                  </a:extLst>
                </a:gridCol>
                <a:gridCol w="2133600">
                  <a:extLst>
                    <a:ext uri="{9D8B030D-6E8A-4147-A177-3AD203B41FA5}">
                      <a16:colId xmlns:a16="http://schemas.microsoft.com/office/drawing/2014/main" val="1132914165"/>
                    </a:ext>
                  </a:extLst>
                </a:gridCol>
                <a:gridCol w="2184124">
                  <a:extLst>
                    <a:ext uri="{9D8B030D-6E8A-4147-A177-3AD203B41FA5}">
                      <a16:colId xmlns:a16="http://schemas.microsoft.com/office/drawing/2014/main" val="127098393"/>
                    </a:ext>
                  </a:extLst>
                </a:gridCol>
              </a:tblGrid>
              <a:tr h="432402">
                <a:tc>
                  <a:txBody>
                    <a:bodyPr/>
                    <a:lstStyle/>
                    <a:p>
                      <a:endParaRPr lang="en-US"/>
                    </a:p>
                  </a:txBody>
                  <a:tcPr/>
                </a:tc>
                <a:tc>
                  <a:txBody>
                    <a:bodyPr/>
                    <a:lstStyle/>
                    <a:p>
                      <a:r>
                        <a:rPr lang="en-US" dirty="0"/>
                        <a:t>Clinical</a:t>
                      </a:r>
                    </a:p>
                  </a:txBody>
                  <a:tcPr/>
                </a:tc>
                <a:tc>
                  <a:txBody>
                    <a:bodyPr/>
                    <a:lstStyle/>
                    <a:p>
                      <a:r>
                        <a:rPr lang="en-US" dirty="0"/>
                        <a:t>Organizational</a:t>
                      </a:r>
                    </a:p>
                  </a:txBody>
                  <a:tcPr/>
                </a:tc>
                <a:tc>
                  <a:txBody>
                    <a:bodyPr/>
                    <a:lstStyle/>
                    <a:p>
                      <a:r>
                        <a:rPr lang="en-US" dirty="0"/>
                        <a:t>Accreditation</a:t>
                      </a:r>
                    </a:p>
                  </a:txBody>
                  <a:tcPr/>
                </a:tc>
                <a:extLst>
                  <a:ext uri="{0D108BD9-81ED-4DB2-BD59-A6C34878D82A}">
                    <a16:rowId xmlns:a16="http://schemas.microsoft.com/office/drawing/2014/main" val="2288007214"/>
                  </a:ext>
                </a:extLst>
              </a:tr>
              <a:tr h="1314501">
                <a:tc>
                  <a:txBody>
                    <a:bodyPr/>
                    <a:lstStyle/>
                    <a:p>
                      <a:r>
                        <a:rPr lang="en-US" sz="1600" dirty="0"/>
                        <a:t>Document</a:t>
                      </a:r>
                    </a:p>
                  </a:txBody>
                  <a:tcPr/>
                </a:tc>
                <a:tc>
                  <a:txBody>
                    <a:bodyPr/>
                    <a:lstStyle/>
                    <a:p>
                      <a:r>
                        <a:rPr lang="en-US" sz="1400" dirty="0">
                          <a:latin typeface="Avenir Book" panose="02000503020000020003" pitchFamily="2" charset="0"/>
                          <a:hlinkClick r:id="" action="ppaction://hlinkshowjump?jump=nextslide"/>
                        </a:rPr>
                        <a:t>Applied Behavior Analysis Treatment of Autism Spectrum Disorder: Practice Guidelines for Healthcare Funders and Managers (2d ed. CASP)</a:t>
                      </a:r>
                      <a:endParaRPr lang="en-US" sz="1400" dirty="0">
                        <a:latin typeface="Avenir Book" panose="02000503020000020003" pitchFamily="2" charset="0"/>
                      </a:endParaRPr>
                    </a:p>
                  </a:txBody>
                  <a:tcPr/>
                </a:tc>
                <a:tc>
                  <a:txBody>
                    <a:bodyPr/>
                    <a:lstStyle/>
                    <a:p>
                      <a:r>
                        <a:rPr lang="en-US" sz="1400" dirty="0">
                          <a:latin typeface="Avenir Book" panose="02000503020000020003" pitchFamily="2" charset="0"/>
                        </a:rPr>
                        <a:t>CASP Organizational Guidelines</a:t>
                      </a:r>
                    </a:p>
                  </a:txBody>
                  <a:tcPr/>
                </a:tc>
                <a:tc>
                  <a:txBody>
                    <a:bodyPr/>
                    <a:lstStyle/>
                    <a:p>
                      <a:r>
                        <a:rPr lang="en-US" sz="1400" dirty="0">
                          <a:latin typeface="Avenir Book" panose="02000503020000020003" pitchFamily="2" charset="0"/>
                        </a:rPr>
                        <a:t>Autism Commission on Quality (ACQ) Applied Behavior Analysis Standards</a:t>
                      </a:r>
                    </a:p>
                    <a:p>
                      <a:endParaRPr lang="en-US" sz="1400" dirty="0">
                        <a:latin typeface="Avenir Book" panose="02000503020000020003" pitchFamily="2" charset="0"/>
                      </a:endParaRPr>
                    </a:p>
                  </a:txBody>
                  <a:tcPr/>
                </a:tc>
                <a:extLst>
                  <a:ext uri="{0D108BD9-81ED-4DB2-BD59-A6C34878D82A}">
                    <a16:rowId xmlns:a16="http://schemas.microsoft.com/office/drawing/2014/main" val="152545951"/>
                  </a:ext>
                </a:extLst>
              </a:tr>
              <a:tr h="1942781">
                <a:tc>
                  <a:txBody>
                    <a:bodyPr/>
                    <a:lstStyle/>
                    <a:p>
                      <a:r>
                        <a:rPr lang="en-US" sz="1600" dirty="0"/>
                        <a:t>What/Why</a:t>
                      </a:r>
                    </a:p>
                  </a:txBody>
                  <a:tcPr/>
                </a:tc>
                <a:tc>
                  <a:txBody>
                    <a:bodyPr/>
                    <a:lstStyle/>
                    <a:p>
                      <a:r>
                        <a:rPr lang="en-US" sz="1400" b="0" i="0" u="none" strike="noStrike" kern="1200" dirty="0">
                          <a:solidFill>
                            <a:schemeClr val="dk1"/>
                          </a:solidFill>
                          <a:effectLst/>
                          <a:latin typeface="Avenir Book" panose="02000503020000020003" pitchFamily="2" charset="0"/>
                          <a:ea typeface="+mn-ea"/>
                          <a:cs typeface="+mn-cs"/>
                        </a:rPr>
                        <a:t>Agreed-upon standards for treatment among clinicians that are maintained and updated by non-profit associations</a:t>
                      </a:r>
                      <a:endParaRPr lang="en-US" sz="1400" dirty="0">
                        <a:latin typeface="Avenir Book" panose="02000503020000020003" pitchFamily="2" charset="0"/>
                      </a:endParaRPr>
                    </a:p>
                  </a:txBody>
                  <a:tcPr/>
                </a:tc>
                <a:tc>
                  <a:txBody>
                    <a:bodyPr/>
                    <a:lstStyle/>
                    <a:p>
                      <a:pPr marL="0" indent="0">
                        <a:buFontTx/>
                        <a:buNone/>
                      </a:pPr>
                      <a:r>
                        <a:rPr lang="en-US" altLang="en-US" sz="1400" dirty="0">
                          <a:latin typeface="Avenir Book" panose="02000503020000020003" pitchFamily="2" charset="0"/>
                        </a:rPr>
                        <a:t>-Develop &amp; promote best practices for </a:t>
                      </a:r>
                      <a:r>
                        <a:rPr lang="en-US" altLang="en-US" sz="1400" i="1" dirty="0">
                          <a:latin typeface="Avenir Book" panose="02000503020000020003" pitchFamily="2" charset="0"/>
                        </a:rPr>
                        <a:t>organizations</a:t>
                      </a:r>
                    </a:p>
                    <a:p>
                      <a:pPr marL="0" indent="0">
                        <a:buFontTx/>
                        <a:buNone/>
                      </a:pPr>
                      <a:r>
                        <a:rPr lang="en-US" altLang="en-US" sz="1400" dirty="0">
                          <a:latin typeface="Avenir Book" panose="02000503020000020003" pitchFamily="2" charset="0"/>
                        </a:rPr>
                        <a:t>-Assist organizations in identifying infrastructure to support sustainable, high-quality therapy</a:t>
                      </a:r>
                    </a:p>
                    <a:p>
                      <a:pPr marL="0" indent="0">
                        <a:buFontTx/>
                        <a:buNone/>
                      </a:pPr>
                      <a:r>
                        <a:rPr lang="en-US" altLang="en-US" sz="1400" dirty="0">
                          <a:latin typeface="Avenir Book" panose="02000503020000020003" pitchFamily="2" charset="0"/>
                        </a:rPr>
                        <a:t>-Develop benchmarks for industry</a:t>
                      </a:r>
                    </a:p>
                  </a:txBody>
                  <a:tcPr/>
                </a:tc>
                <a:tc>
                  <a:txBody>
                    <a:bodyPr/>
                    <a:lstStyle/>
                    <a:p>
                      <a:r>
                        <a:rPr lang="en-US" sz="1400" dirty="0">
                          <a:latin typeface="Avenir Book" panose="02000503020000020003" pitchFamily="2" charset="0"/>
                        </a:rPr>
                        <a:t>Articulate the standards by which organizations seeking accreditation will be measured</a:t>
                      </a:r>
                    </a:p>
                  </a:txBody>
                  <a:tcPr/>
                </a:tc>
                <a:extLst>
                  <a:ext uri="{0D108BD9-81ED-4DB2-BD59-A6C34878D82A}">
                    <a16:rowId xmlns:a16="http://schemas.microsoft.com/office/drawing/2014/main" val="2390470556"/>
                  </a:ext>
                </a:extLst>
              </a:tr>
              <a:tr h="2406316">
                <a:tc>
                  <a:txBody>
                    <a:bodyPr/>
                    <a:lstStyle/>
                    <a:p>
                      <a:r>
                        <a:rPr lang="en-US" sz="1600" dirty="0"/>
                        <a:t>Other Relevant Resources</a:t>
                      </a:r>
                    </a:p>
                  </a:txBody>
                  <a:tcPr/>
                </a:tc>
                <a:tc>
                  <a:txBody>
                    <a:bodyPr/>
                    <a:lstStyle/>
                    <a:p>
                      <a:r>
                        <a:rPr lang="en-US" sz="1200" b="0" kern="1200" dirty="0">
                          <a:solidFill>
                            <a:schemeClr val="dk1"/>
                          </a:solidFill>
                          <a:effectLst/>
                          <a:latin typeface="Avenir Book" panose="02000503020000020003" pitchFamily="2" charset="0"/>
                          <a:ea typeface="+mn-ea"/>
                          <a:cs typeface="+mn-cs"/>
                        </a:rPr>
                        <a:t>Clarifications Regarding</a:t>
                      </a:r>
                      <a:r>
                        <a:rPr lang="en-US" sz="1200" b="0" i="0" kern="1200" dirty="0">
                          <a:solidFill>
                            <a:schemeClr val="dk1"/>
                          </a:solidFill>
                          <a:effectLst/>
                          <a:latin typeface="Avenir Book" panose="02000503020000020003" pitchFamily="2" charset="0"/>
                          <a:ea typeface="+mn-ea"/>
                          <a:cs typeface="+mn-cs"/>
                        </a:rPr>
                        <a:t> </a:t>
                      </a:r>
                      <a:r>
                        <a:rPr lang="en-US" sz="1200" b="0" i="1" kern="1200" dirty="0">
                          <a:solidFill>
                            <a:schemeClr val="dk1"/>
                          </a:solidFill>
                          <a:effectLst/>
                          <a:latin typeface="Avenir Book" panose="02000503020000020003" pitchFamily="2" charset="0"/>
                          <a:ea typeface="+mn-ea"/>
                          <a:cs typeface="+mn-cs"/>
                        </a:rPr>
                        <a:t>Applied Behavior Analysis Treatment of Autism Spectrum Disorder: Practice Guidelines for Healthcare Funders and Managers (2nd ed.) – </a:t>
                      </a:r>
                      <a:r>
                        <a:rPr lang="en-US" sz="1200" b="0" i="0" kern="1200" dirty="0">
                          <a:solidFill>
                            <a:schemeClr val="dk1"/>
                          </a:solidFill>
                          <a:effectLst/>
                          <a:latin typeface="Avenir Book" panose="02000503020000020003" pitchFamily="2" charset="0"/>
                          <a:ea typeface="+mn-ea"/>
                          <a:cs typeface="+mn-cs"/>
                        </a:rPr>
                        <a:t>APBA &amp; BACB</a:t>
                      </a:r>
                      <a:r>
                        <a:rPr lang="en-US" sz="1200" b="0" i="1" kern="1200" dirty="0">
                          <a:solidFill>
                            <a:schemeClr val="dk1"/>
                          </a:solidFill>
                          <a:effectLst/>
                          <a:latin typeface="Avenir Book" panose="02000503020000020003" pitchFamily="2" charset="0"/>
                          <a:ea typeface="+mn-ea"/>
                          <a:cs typeface="+mn-cs"/>
                        </a:rPr>
                        <a:t> </a:t>
                      </a:r>
                      <a:endParaRPr lang="en-US" sz="1200" dirty="0">
                        <a:effectLst/>
                        <a:latin typeface="Avenir Book" panose="02000503020000020003" pitchFamily="2" charset="0"/>
                      </a:endParaRPr>
                    </a:p>
                    <a:p>
                      <a:endParaRPr lang="en-US" sz="1200" dirty="0">
                        <a:latin typeface="Avenir Book" panose="02000503020000020003" pitchFamily="2" charset="0"/>
                      </a:endParaRPr>
                    </a:p>
                    <a:p>
                      <a:r>
                        <a:rPr lang="en-US" sz="1200" dirty="0">
                          <a:latin typeface="Avenir Book" panose="02000503020000020003" pitchFamily="2" charset="0"/>
                        </a:rPr>
                        <a:t>Model Coverage Policy (ABA Coding Coalition)</a:t>
                      </a:r>
                    </a:p>
                    <a:p>
                      <a:endParaRPr lang="en-US" sz="1200" dirty="0">
                        <a:latin typeface="Avenir Book" panose="02000503020000020003" pitchFamily="2" charset="0"/>
                      </a:endParaRPr>
                    </a:p>
                    <a:p>
                      <a:r>
                        <a:rPr lang="en-US" sz="1200" dirty="0">
                          <a:latin typeface="Avenir Book" panose="02000503020000020003" pitchFamily="2" charset="0"/>
                        </a:rPr>
                        <a:t>CPT Assistant (AMA)</a:t>
                      </a:r>
                    </a:p>
                    <a:p>
                      <a:endParaRPr lang="en-US" sz="1200" dirty="0">
                        <a:latin typeface="Avenir Book" panose="02000503020000020003" pitchFamily="2" charset="0"/>
                      </a:endParaRPr>
                    </a:p>
                    <a:p>
                      <a:r>
                        <a:rPr lang="en-US" sz="1200" dirty="0">
                          <a:latin typeface="Avenir Book" panose="02000503020000020003" pitchFamily="2" charset="0"/>
                        </a:rPr>
                        <a:t>Practice Parameters for Telehealth-Implementation of ABA (2d ed. 2022 CASP)</a:t>
                      </a:r>
                    </a:p>
                    <a:p>
                      <a:endParaRPr lang="en-US" sz="1200" dirty="0">
                        <a:latin typeface="Avenir Book" panose="02000503020000020003" pitchFamily="2" charset="0"/>
                      </a:endParaRPr>
                    </a:p>
                  </a:txBody>
                  <a:tcPr/>
                </a:tc>
                <a:tc>
                  <a:txBody>
                    <a:bodyPr/>
                    <a:lstStyle/>
                    <a:p>
                      <a:endParaRPr lang="en-US" sz="1400" dirty="0">
                        <a:latin typeface="Avenir Book" panose="02000503020000020003" pitchFamily="2" charset="0"/>
                      </a:endParaRPr>
                    </a:p>
                  </a:txBody>
                  <a:tcPr/>
                </a:tc>
                <a:tc>
                  <a:txBody>
                    <a:bodyPr/>
                    <a:lstStyle/>
                    <a:p>
                      <a:endParaRPr lang="en-US" sz="1400" dirty="0">
                        <a:latin typeface="Avenir Book" panose="02000503020000020003" pitchFamily="2" charset="0"/>
                      </a:endParaRPr>
                    </a:p>
                  </a:txBody>
                  <a:tcPr/>
                </a:tc>
                <a:extLst>
                  <a:ext uri="{0D108BD9-81ED-4DB2-BD59-A6C34878D82A}">
                    <a16:rowId xmlns:a16="http://schemas.microsoft.com/office/drawing/2014/main" val="1649483646"/>
                  </a:ext>
                </a:extLst>
              </a:tr>
            </a:tbl>
          </a:graphicData>
        </a:graphic>
      </p:graphicFrame>
    </p:spTree>
    <p:extLst>
      <p:ext uri="{BB962C8B-B14F-4D97-AF65-F5344CB8AC3E}">
        <p14:creationId xmlns:p14="http://schemas.microsoft.com/office/powerpoint/2010/main" val="3399421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alpha val="32156"/>
          </a:schemeClr>
        </a:solidFill>
        <a:effectLst/>
      </p:bgPr>
    </p:bg>
    <p:spTree>
      <p:nvGrpSpPr>
        <p:cNvPr id="1" name=""/>
        <p:cNvGrpSpPr/>
        <p:nvPr/>
      </p:nvGrpSpPr>
      <p:grpSpPr>
        <a:xfrm>
          <a:off x="0" y="0"/>
          <a:ext cx="0" cy="0"/>
          <a:chOff x="0" y="0"/>
          <a:chExt cx="0" cy="0"/>
        </a:xfrm>
      </p:grpSpPr>
      <p:pic>
        <p:nvPicPr>
          <p:cNvPr id="117762" name="Content Placeholder 4">
            <a:extLst>
              <a:ext uri="{FF2B5EF4-FFF2-40B4-BE49-F238E27FC236}">
                <a16:creationId xmlns:a16="http://schemas.microsoft.com/office/drawing/2014/main" id="{CE1298D4-2D27-0248-ABB9-301DD5C19FA2}"/>
              </a:ext>
            </a:extLst>
          </p:cNvPr>
          <p:cNvPicPr>
            <a:picLocks noGrp="1" noChangeAspect="1"/>
          </p:cNvPicPr>
          <p:nvPr>
            <p:ph idx="4294967295"/>
          </p:nvPr>
        </p:nvPicPr>
        <p:blipFill>
          <a:blip r:embed="rId3" cstate="print">
            <a:extLst>
              <a:ext uri="{28A0092B-C50C-407E-A947-70E740481C1C}">
                <a14:useLocalDpi xmlns:a14="http://schemas.microsoft.com/office/drawing/2010/main" val="0"/>
              </a:ext>
            </a:extLst>
          </a:blip>
          <a:srcRect/>
          <a:stretch>
            <a:fillRect/>
          </a:stretch>
        </p:blipFill>
        <p:spPr>
          <a:xfrm>
            <a:off x="3805237" y="1231106"/>
            <a:ext cx="3396854" cy="4395788"/>
          </a:xfrm>
          <a:ln>
            <a:solidFill>
              <a:schemeClr val="accent1">
                <a:alpha val="58038"/>
              </a:schemeClr>
            </a:solidFill>
            <a:miter lim="800000"/>
            <a:headEnd/>
            <a:tailEnd/>
          </a:ln>
        </p:spPr>
      </p:pic>
      <p:pic>
        <p:nvPicPr>
          <p:cNvPr id="7" name="Picture 6" descr="A screenshot of a cell phone&#10;&#10;Description automatically generated">
            <a:extLst>
              <a:ext uri="{FF2B5EF4-FFF2-40B4-BE49-F238E27FC236}">
                <a16:creationId xmlns:a16="http://schemas.microsoft.com/office/drawing/2014/main" id="{95FB07B3-6C1A-094A-8759-C3F22E90BFA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46211" y="517521"/>
            <a:ext cx="4521748" cy="5822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63163607"/>
      </p:ext>
    </p:extLst>
  </p:cSld>
  <p:clrMapOvr>
    <a:masterClrMapping/>
  </p:clrMapOvr>
  <p:transition spd="slow">
    <p:split orient="vert"/>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xit" presetSubtype="8" fill="hold" nodeType="clickEffect">
                                  <p:stCondLst>
                                    <p:cond delay="0"/>
                                  </p:stCondLst>
                                  <p:childTnLst>
                                    <p:anim calcmode="lin" valueType="num">
                                      <p:cBhvr additive="base">
                                        <p:cTn id="6" dur="2000"/>
                                        <p:tgtEl>
                                          <p:spTgt spid="7"/>
                                        </p:tgtEl>
                                        <p:attrNameLst>
                                          <p:attrName>ppt_x</p:attrName>
                                        </p:attrNameLst>
                                      </p:cBhvr>
                                      <p:tavLst>
                                        <p:tav tm="0">
                                          <p:val>
                                            <p:strVal val="ppt_x"/>
                                          </p:val>
                                        </p:tav>
                                        <p:tav tm="100000">
                                          <p:val>
                                            <p:strVal val="0-ppt_w/2"/>
                                          </p:val>
                                        </p:tav>
                                      </p:tavLst>
                                    </p:anim>
                                    <p:anim calcmode="lin" valueType="num">
                                      <p:cBhvr additive="base">
                                        <p:cTn id="7" dur="2000"/>
                                        <p:tgtEl>
                                          <p:spTgt spid="7"/>
                                        </p:tgtEl>
                                        <p:attrNameLst>
                                          <p:attrName>ppt_y</p:attrName>
                                        </p:attrNameLst>
                                      </p:cBhvr>
                                      <p:tavLst>
                                        <p:tav tm="0">
                                          <p:val>
                                            <p:strVal val="ppt_y"/>
                                          </p:val>
                                        </p:tav>
                                        <p:tav tm="100000">
                                          <p:val>
                                            <p:strVal val="ppt_y"/>
                                          </p:val>
                                        </p:tav>
                                      </p:tavLst>
                                    </p:anim>
                                    <p:set>
                                      <p:cBhvr>
                                        <p:cTn id="8" dur="1" fill="hold">
                                          <p:stCondLst>
                                            <p:cond delay="19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7B305C-0377-D7B2-2FB7-5847A27B54F9}"/>
              </a:ext>
            </a:extLst>
          </p:cNvPr>
          <p:cNvSpPr>
            <a:spLocks noGrp="1"/>
          </p:cNvSpPr>
          <p:nvPr>
            <p:ph type="title"/>
          </p:nvPr>
        </p:nvSpPr>
        <p:spPr>
          <a:xfrm>
            <a:off x="1898374" y="2551734"/>
            <a:ext cx="10515600" cy="1325563"/>
          </a:xfrm>
        </p:spPr>
        <p:txBody>
          <a:bodyPr/>
          <a:lstStyle/>
          <a:p>
            <a:r>
              <a:rPr lang="en-US" dirty="0"/>
              <a:t>What Are Generally Accepted Standards of Care?</a:t>
            </a:r>
          </a:p>
        </p:txBody>
      </p:sp>
      <p:sp>
        <p:nvSpPr>
          <p:cNvPr id="3" name="Content Placeholder 2">
            <a:extLst>
              <a:ext uri="{FF2B5EF4-FFF2-40B4-BE49-F238E27FC236}">
                <a16:creationId xmlns:a16="http://schemas.microsoft.com/office/drawing/2014/main" id="{C9D0C5D1-D4E6-38F0-31E5-DB180CC49821}"/>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39909647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FFE06-6472-558B-DC55-6A87A0334F21}"/>
              </a:ext>
            </a:extLst>
          </p:cNvPr>
          <p:cNvSpPr>
            <a:spLocks noGrp="1"/>
          </p:cNvSpPr>
          <p:nvPr>
            <p:ph type="title"/>
          </p:nvPr>
        </p:nvSpPr>
        <p:spPr>
          <a:xfrm>
            <a:off x="1981200" y="-228600"/>
            <a:ext cx="8229600" cy="1143000"/>
          </a:xfrm>
        </p:spPr>
        <p:txBody>
          <a:bodyPr>
            <a:normAutofit/>
          </a:bodyPr>
          <a:lstStyle/>
          <a:p>
            <a:r>
              <a:rPr lang="en-US" sz="3600" dirty="0"/>
              <a:t>Standards Produced by Nonprofits</a:t>
            </a:r>
          </a:p>
        </p:txBody>
      </p:sp>
      <p:graphicFrame>
        <p:nvGraphicFramePr>
          <p:cNvPr id="4" name="Table 4">
            <a:extLst>
              <a:ext uri="{FF2B5EF4-FFF2-40B4-BE49-F238E27FC236}">
                <a16:creationId xmlns:a16="http://schemas.microsoft.com/office/drawing/2014/main" id="{A2D38375-E90B-D1F4-D179-7094D1D775EF}"/>
              </a:ext>
            </a:extLst>
          </p:cNvPr>
          <p:cNvGraphicFramePr>
            <a:graphicFrameLocks noGrp="1"/>
          </p:cNvGraphicFramePr>
          <p:nvPr>
            <p:ph idx="1"/>
          </p:nvPr>
        </p:nvGraphicFramePr>
        <p:xfrm>
          <a:off x="1702076" y="685801"/>
          <a:ext cx="8787848" cy="6410343"/>
        </p:xfrm>
        <a:graphic>
          <a:graphicData uri="http://schemas.openxmlformats.org/drawingml/2006/table">
            <a:tbl>
              <a:tblPr firstRow="1" bandRow="1">
                <a:tableStyleId>{5C22544A-7EE6-4342-B048-85BDC9FD1C3A}</a:tableStyleId>
              </a:tblPr>
              <a:tblGrid>
                <a:gridCol w="1117324">
                  <a:extLst>
                    <a:ext uri="{9D8B030D-6E8A-4147-A177-3AD203B41FA5}">
                      <a16:colId xmlns:a16="http://schemas.microsoft.com/office/drawing/2014/main" val="3080083105"/>
                    </a:ext>
                  </a:extLst>
                </a:gridCol>
                <a:gridCol w="3352800">
                  <a:extLst>
                    <a:ext uri="{9D8B030D-6E8A-4147-A177-3AD203B41FA5}">
                      <a16:colId xmlns:a16="http://schemas.microsoft.com/office/drawing/2014/main" val="625555638"/>
                    </a:ext>
                  </a:extLst>
                </a:gridCol>
                <a:gridCol w="2133600">
                  <a:extLst>
                    <a:ext uri="{9D8B030D-6E8A-4147-A177-3AD203B41FA5}">
                      <a16:colId xmlns:a16="http://schemas.microsoft.com/office/drawing/2014/main" val="1132914165"/>
                    </a:ext>
                  </a:extLst>
                </a:gridCol>
                <a:gridCol w="2184124">
                  <a:extLst>
                    <a:ext uri="{9D8B030D-6E8A-4147-A177-3AD203B41FA5}">
                      <a16:colId xmlns:a16="http://schemas.microsoft.com/office/drawing/2014/main" val="127098393"/>
                    </a:ext>
                  </a:extLst>
                </a:gridCol>
              </a:tblGrid>
              <a:tr h="432402">
                <a:tc>
                  <a:txBody>
                    <a:bodyPr/>
                    <a:lstStyle/>
                    <a:p>
                      <a:endParaRPr lang="en-US"/>
                    </a:p>
                  </a:txBody>
                  <a:tcPr/>
                </a:tc>
                <a:tc>
                  <a:txBody>
                    <a:bodyPr/>
                    <a:lstStyle/>
                    <a:p>
                      <a:r>
                        <a:rPr lang="en-US" dirty="0"/>
                        <a:t>Clinical</a:t>
                      </a:r>
                    </a:p>
                  </a:txBody>
                  <a:tcPr/>
                </a:tc>
                <a:tc>
                  <a:txBody>
                    <a:bodyPr/>
                    <a:lstStyle/>
                    <a:p>
                      <a:r>
                        <a:rPr lang="en-US" dirty="0"/>
                        <a:t>Organizational</a:t>
                      </a:r>
                    </a:p>
                  </a:txBody>
                  <a:tcPr/>
                </a:tc>
                <a:tc>
                  <a:txBody>
                    <a:bodyPr/>
                    <a:lstStyle/>
                    <a:p>
                      <a:r>
                        <a:rPr lang="en-US" dirty="0"/>
                        <a:t>Accreditation</a:t>
                      </a:r>
                    </a:p>
                  </a:txBody>
                  <a:tcPr/>
                </a:tc>
                <a:extLst>
                  <a:ext uri="{0D108BD9-81ED-4DB2-BD59-A6C34878D82A}">
                    <a16:rowId xmlns:a16="http://schemas.microsoft.com/office/drawing/2014/main" val="2288007214"/>
                  </a:ext>
                </a:extLst>
              </a:tr>
              <a:tr h="1314501">
                <a:tc>
                  <a:txBody>
                    <a:bodyPr/>
                    <a:lstStyle/>
                    <a:p>
                      <a:r>
                        <a:rPr lang="en-US" sz="1600" dirty="0"/>
                        <a:t>Document</a:t>
                      </a:r>
                    </a:p>
                  </a:txBody>
                  <a:tcPr/>
                </a:tc>
                <a:tc>
                  <a:txBody>
                    <a:bodyPr/>
                    <a:lstStyle/>
                    <a:p>
                      <a:r>
                        <a:rPr lang="en-US" sz="1400" dirty="0">
                          <a:latin typeface="Avenir Book" panose="02000503020000020003" pitchFamily="2" charset="0"/>
                          <a:hlinkClick r:id="" action="ppaction://hlinkshowjump?jump=nextslide"/>
                        </a:rPr>
                        <a:t>Applied Behavior Analysis Treatment of Autism Spectrum Disorder: Practice Guidelines for Healthcare Funders and Managers (2d ed. CASP)</a:t>
                      </a:r>
                      <a:endParaRPr lang="en-US" sz="1400" dirty="0">
                        <a:latin typeface="Avenir Book" panose="02000503020000020003" pitchFamily="2" charset="0"/>
                      </a:endParaRPr>
                    </a:p>
                  </a:txBody>
                  <a:tcPr/>
                </a:tc>
                <a:tc>
                  <a:txBody>
                    <a:bodyPr/>
                    <a:lstStyle/>
                    <a:p>
                      <a:r>
                        <a:rPr lang="en-US" sz="1400" dirty="0">
                          <a:latin typeface="Avenir Book" panose="02000503020000020003" pitchFamily="2" charset="0"/>
                        </a:rPr>
                        <a:t>CASP Organizational Guidelines</a:t>
                      </a:r>
                    </a:p>
                  </a:txBody>
                  <a:tcPr/>
                </a:tc>
                <a:tc>
                  <a:txBody>
                    <a:bodyPr/>
                    <a:lstStyle/>
                    <a:p>
                      <a:r>
                        <a:rPr lang="en-US" sz="1400" dirty="0">
                          <a:latin typeface="Avenir Book" panose="02000503020000020003" pitchFamily="2" charset="0"/>
                        </a:rPr>
                        <a:t>Autism Commission on Quality (ACQ) Applied Behavior Analysis Standards</a:t>
                      </a:r>
                    </a:p>
                    <a:p>
                      <a:endParaRPr lang="en-US" sz="1400" dirty="0">
                        <a:latin typeface="Avenir Book" panose="02000503020000020003" pitchFamily="2" charset="0"/>
                      </a:endParaRPr>
                    </a:p>
                  </a:txBody>
                  <a:tcPr/>
                </a:tc>
                <a:extLst>
                  <a:ext uri="{0D108BD9-81ED-4DB2-BD59-A6C34878D82A}">
                    <a16:rowId xmlns:a16="http://schemas.microsoft.com/office/drawing/2014/main" val="152545951"/>
                  </a:ext>
                </a:extLst>
              </a:tr>
              <a:tr h="1942781">
                <a:tc>
                  <a:txBody>
                    <a:bodyPr/>
                    <a:lstStyle/>
                    <a:p>
                      <a:r>
                        <a:rPr lang="en-US" sz="1600" dirty="0"/>
                        <a:t>What/Why</a:t>
                      </a:r>
                    </a:p>
                  </a:txBody>
                  <a:tcPr/>
                </a:tc>
                <a:tc>
                  <a:txBody>
                    <a:bodyPr/>
                    <a:lstStyle/>
                    <a:p>
                      <a:r>
                        <a:rPr lang="en-US" sz="1400" b="0" i="0" u="none" strike="noStrike" kern="1200" dirty="0">
                          <a:solidFill>
                            <a:schemeClr val="dk1"/>
                          </a:solidFill>
                          <a:effectLst/>
                          <a:latin typeface="Avenir Book" panose="02000503020000020003" pitchFamily="2" charset="0"/>
                          <a:ea typeface="+mn-ea"/>
                          <a:cs typeface="+mn-cs"/>
                        </a:rPr>
                        <a:t>Agreed-upon standards for treatment among clinicians that are maintained and updated by non-profit associations</a:t>
                      </a:r>
                      <a:endParaRPr lang="en-US" sz="1400" dirty="0">
                        <a:latin typeface="Avenir Book" panose="02000503020000020003" pitchFamily="2" charset="0"/>
                      </a:endParaRPr>
                    </a:p>
                  </a:txBody>
                  <a:tcPr/>
                </a:tc>
                <a:tc>
                  <a:txBody>
                    <a:bodyPr/>
                    <a:lstStyle/>
                    <a:p>
                      <a:pPr marL="0" indent="0">
                        <a:buFontTx/>
                        <a:buNone/>
                      </a:pPr>
                      <a:r>
                        <a:rPr lang="en-US" altLang="en-US" sz="1400" dirty="0">
                          <a:latin typeface="Avenir Book" panose="02000503020000020003" pitchFamily="2" charset="0"/>
                        </a:rPr>
                        <a:t>-Develop &amp; promote best practices for </a:t>
                      </a:r>
                      <a:r>
                        <a:rPr lang="en-US" altLang="en-US" sz="1400" i="1" dirty="0">
                          <a:latin typeface="Avenir Book" panose="02000503020000020003" pitchFamily="2" charset="0"/>
                        </a:rPr>
                        <a:t>organizations</a:t>
                      </a:r>
                    </a:p>
                    <a:p>
                      <a:pPr marL="0" indent="0">
                        <a:buFontTx/>
                        <a:buNone/>
                      </a:pPr>
                      <a:r>
                        <a:rPr lang="en-US" altLang="en-US" sz="1400" dirty="0">
                          <a:latin typeface="Avenir Book" panose="02000503020000020003" pitchFamily="2" charset="0"/>
                        </a:rPr>
                        <a:t>-Assist organizations in identifying infrastructure to support sustainable, high-quality therapy</a:t>
                      </a:r>
                    </a:p>
                    <a:p>
                      <a:pPr marL="0" indent="0">
                        <a:buFontTx/>
                        <a:buNone/>
                      </a:pPr>
                      <a:r>
                        <a:rPr lang="en-US" altLang="en-US" sz="1400" dirty="0">
                          <a:latin typeface="Avenir Book" panose="02000503020000020003" pitchFamily="2" charset="0"/>
                        </a:rPr>
                        <a:t>-Develop benchmarks for industry</a:t>
                      </a:r>
                    </a:p>
                  </a:txBody>
                  <a:tcPr/>
                </a:tc>
                <a:tc>
                  <a:txBody>
                    <a:bodyPr/>
                    <a:lstStyle/>
                    <a:p>
                      <a:r>
                        <a:rPr lang="en-US" sz="1400" dirty="0">
                          <a:latin typeface="Avenir Book" panose="02000503020000020003" pitchFamily="2" charset="0"/>
                        </a:rPr>
                        <a:t>Articulate the standards by which organizations seeking accreditation will be measured</a:t>
                      </a:r>
                    </a:p>
                  </a:txBody>
                  <a:tcPr/>
                </a:tc>
                <a:extLst>
                  <a:ext uri="{0D108BD9-81ED-4DB2-BD59-A6C34878D82A}">
                    <a16:rowId xmlns:a16="http://schemas.microsoft.com/office/drawing/2014/main" val="2390470556"/>
                  </a:ext>
                </a:extLst>
              </a:tr>
              <a:tr h="2406316">
                <a:tc>
                  <a:txBody>
                    <a:bodyPr/>
                    <a:lstStyle/>
                    <a:p>
                      <a:r>
                        <a:rPr lang="en-US" sz="1600" dirty="0"/>
                        <a:t>Other Relevant Resources</a:t>
                      </a:r>
                    </a:p>
                  </a:txBody>
                  <a:tcPr/>
                </a:tc>
                <a:tc>
                  <a:txBody>
                    <a:bodyPr/>
                    <a:lstStyle/>
                    <a:p>
                      <a:r>
                        <a:rPr lang="en-US" sz="1200" b="0" kern="1200" dirty="0">
                          <a:solidFill>
                            <a:schemeClr val="dk1"/>
                          </a:solidFill>
                          <a:effectLst/>
                          <a:latin typeface="Avenir Book" panose="02000503020000020003" pitchFamily="2" charset="0"/>
                          <a:ea typeface="+mn-ea"/>
                          <a:cs typeface="+mn-cs"/>
                        </a:rPr>
                        <a:t>Clarifications Regarding</a:t>
                      </a:r>
                      <a:r>
                        <a:rPr lang="en-US" sz="1200" b="0" i="0" kern="1200" dirty="0">
                          <a:solidFill>
                            <a:schemeClr val="dk1"/>
                          </a:solidFill>
                          <a:effectLst/>
                          <a:latin typeface="Avenir Book" panose="02000503020000020003" pitchFamily="2" charset="0"/>
                          <a:ea typeface="+mn-ea"/>
                          <a:cs typeface="+mn-cs"/>
                        </a:rPr>
                        <a:t> </a:t>
                      </a:r>
                      <a:r>
                        <a:rPr lang="en-US" sz="1200" b="0" i="1" kern="1200" dirty="0">
                          <a:solidFill>
                            <a:schemeClr val="dk1"/>
                          </a:solidFill>
                          <a:effectLst/>
                          <a:latin typeface="Avenir Book" panose="02000503020000020003" pitchFamily="2" charset="0"/>
                          <a:ea typeface="+mn-ea"/>
                          <a:cs typeface="+mn-cs"/>
                        </a:rPr>
                        <a:t>Applied Behavior Analysis Treatment of Autism Spectrum Disorder: Practice Guidelines for Healthcare Funders and Managers (2nd ed.) – </a:t>
                      </a:r>
                      <a:r>
                        <a:rPr lang="en-US" sz="1200" b="0" i="0" kern="1200" dirty="0">
                          <a:solidFill>
                            <a:schemeClr val="dk1"/>
                          </a:solidFill>
                          <a:effectLst/>
                          <a:latin typeface="Avenir Book" panose="02000503020000020003" pitchFamily="2" charset="0"/>
                          <a:ea typeface="+mn-ea"/>
                          <a:cs typeface="+mn-cs"/>
                        </a:rPr>
                        <a:t>APBA &amp; BACB</a:t>
                      </a:r>
                      <a:r>
                        <a:rPr lang="en-US" sz="1200" b="0" i="1" kern="1200" dirty="0">
                          <a:solidFill>
                            <a:schemeClr val="dk1"/>
                          </a:solidFill>
                          <a:effectLst/>
                          <a:latin typeface="Avenir Book" panose="02000503020000020003" pitchFamily="2" charset="0"/>
                          <a:ea typeface="+mn-ea"/>
                          <a:cs typeface="+mn-cs"/>
                        </a:rPr>
                        <a:t> </a:t>
                      </a:r>
                      <a:endParaRPr lang="en-US" sz="1200" dirty="0">
                        <a:effectLst/>
                        <a:latin typeface="Avenir Book" panose="02000503020000020003" pitchFamily="2" charset="0"/>
                      </a:endParaRPr>
                    </a:p>
                    <a:p>
                      <a:endParaRPr lang="en-US" sz="1200" dirty="0">
                        <a:latin typeface="Avenir Book" panose="02000503020000020003" pitchFamily="2" charset="0"/>
                      </a:endParaRPr>
                    </a:p>
                    <a:p>
                      <a:r>
                        <a:rPr lang="en-US" sz="1200" dirty="0">
                          <a:latin typeface="Avenir Book" panose="02000503020000020003" pitchFamily="2" charset="0"/>
                        </a:rPr>
                        <a:t>Model Coverage Policy (ABA Coding Coalition)</a:t>
                      </a:r>
                    </a:p>
                    <a:p>
                      <a:endParaRPr lang="en-US" sz="1200" dirty="0">
                        <a:latin typeface="Avenir Book" panose="02000503020000020003" pitchFamily="2" charset="0"/>
                      </a:endParaRPr>
                    </a:p>
                    <a:p>
                      <a:r>
                        <a:rPr lang="en-US" sz="1200" dirty="0">
                          <a:latin typeface="Avenir Book" panose="02000503020000020003" pitchFamily="2" charset="0"/>
                        </a:rPr>
                        <a:t>CPT Assistant (AMA)</a:t>
                      </a:r>
                    </a:p>
                    <a:p>
                      <a:endParaRPr lang="en-US" sz="1200" dirty="0">
                        <a:latin typeface="Avenir Book" panose="02000503020000020003" pitchFamily="2" charset="0"/>
                      </a:endParaRPr>
                    </a:p>
                    <a:p>
                      <a:r>
                        <a:rPr lang="en-US" sz="1200" dirty="0">
                          <a:latin typeface="Avenir Book" panose="02000503020000020003" pitchFamily="2" charset="0"/>
                        </a:rPr>
                        <a:t>Practice Parameters for Telehealth-Implementation of ABA (2d ed. 2022 CASP)</a:t>
                      </a:r>
                    </a:p>
                    <a:p>
                      <a:endParaRPr lang="en-US" sz="1200" dirty="0">
                        <a:latin typeface="Avenir Book" panose="02000503020000020003" pitchFamily="2" charset="0"/>
                      </a:endParaRPr>
                    </a:p>
                  </a:txBody>
                  <a:tcPr/>
                </a:tc>
                <a:tc>
                  <a:txBody>
                    <a:bodyPr/>
                    <a:lstStyle/>
                    <a:p>
                      <a:endParaRPr lang="en-US" sz="1400" dirty="0">
                        <a:latin typeface="Avenir Book" panose="02000503020000020003" pitchFamily="2" charset="0"/>
                      </a:endParaRPr>
                    </a:p>
                  </a:txBody>
                  <a:tcPr/>
                </a:tc>
                <a:tc>
                  <a:txBody>
                    <a:bodyPr/>
                    <a:lstStyle/>
                    <a:p>
                      <a:endParaRPr lang="en-US" sz="1400" dirty="0">
                        <a:latin typeface="Avenir Book" panose="02000503020000020003" pitchFamily="2" charset="0"/>
                      </a:endParaRPr>
                    </a:p>
                  </a:txBody>
                  <a:tcPr/>
                </a:tc>
                <a:extLst>
                  <a:ext uri="{0D108BD9-81ED-4DB2-BD59-A6C34878D82A}">
                    <a16:rowId xmlns:a16="http://schemas.microsoft.com/office/drawing/2014/main" val="1649483646"/>
                  </a:ext>
                </a:extLst>
              </a:tr>
            </a:tbl>
          </a:graphicData>
        </a:graphic>
      </p:graphicFrame>
    </p:spTree>
    <p:extLst>
      <p:ext uri="{BB962C8B-B14F-4D97-AF65-F5344CB8AC3E}">
        <p14:creationId xmlns:p14="http://schemas.microsoft.com/office/powerpoint/2010/main" val="27980340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7" name="Title 3">
            <a:extLst>
              <a:ext uri="{FF2B5EF4-FFF2-40B4-BE49-F238E27FC236}">
                <a16:creationId xmlns:a16="http://schemas.microsoft.com/office/drawing/2014/main" id="{84F98AF5-57A5-A041-B967-C233E0C597A5}"/>
              </a:ext>
            </a:extLst>
          </p:cNvPr>
          <p:cNvSpPr>
            <a:spLocks noGrp="1" noChangeArrowheads="1"/>
          </p:cNvSpPr>
          <p:nvPr>
            <p:ph type="title" idx="4294967295"/>
          </p:nvPr>
        </p:nvSpPr>
        <p:spPr>
          <a:xfrm>
            <a:off x="1524001" y="1295400"/>
            <a:ext cx="2093913" cy="1600200"/>
          </a:xfrm>
        </p:spPr>
        <p:txBody>
          <a:bodyPr/>
          <a:lstStyle/>
          <a:p>
            <a:endParaRPr lang="en-US" altLang="en-US" b="1" dirty="0"/>
          </a:p>
        </p:txBody>
      </p:sp>
      <p:pic>
        <p:nvPicPr>
          <p:cNvPr id="4" name="Image" descr="Image">
            <a:extLst>
              <a:ext uri="{FF2B5EF4-FFF2-40B4-BE49-F238E27FC236}">
                <a16:creationId xmlns:a16="http://schemas.microsoft.com/office/drawing/2014/main" id="{05944ECE-DBE4-6BBC-4A85-9BBC367E2311}"/>
              </a:ext>
            </a:extLst>
          </p:cNvPr>
          <p:cNvPicPr>
            <a:picLocks noChangeAspect="1"/>
          </p:cNvPicPr>
          <p:nvPr/>
        </p:nvPicPr>
        <p:blipFill>
          <a:blip r:embed="rId3"/>
          <a:stretch>
            <a:fillRect/>
          </a:stretch>
        </p:blipFill>
        <p:spPr>
          <a:xfrm>
            <a:off x="3429001" y="1265904"/>
            <a:ext cx="4571181" cy="4522723"/>
          </a:xfrm>
          <a:prstGeom prst="rect">
            <a:avLst/>
          </a:prstGeom>
          <a:ln w="12700">
            <a:solidFill>
              <a:srgbClr val="000000"/>
            </a:solidFill>
            <a:miter lim="400000"/>
          </a:ln>
        </p:spPr>
      </p:pic>
    </p:spTree>
    <p:extLst>
      <p:ext uri="{BB962C8B-B14F-4D97-AF65-F5344CB8AC3E}">
        <p14:creationId xmlns:p14="http://schemas.microsoft.com/office/powerpoint/2010/main" val="1204849333"/>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1969" name="Objeto 35" hidden="1">
            <a:extLst>
              <a:ext uri="{FF2B5EF4-FFF2-40B4-BE49-F238E27FC236}">
                <a16:creationId xmlns:a16="http://schemas.microsoft.com/office/drawing/2014/main" id="{5678685F-8CF5-4CC2-B596-1A0610E6E91A}"/>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5" imgW="7772400" imgH="10058400" progId="TCLayout.ActiveDocument.1">
                  <p:embed/>
                </p:oleObj>
              </mc:Choice>
              <mc:Fallback>
                <p:oleObj name="Diapositiva de think-cell" r:id="rId5" imgW="7772400" imgH="10058400" progId="TCLayout.ActiveDocument.1">
                  <p:embed/>
                  <p:pic>
                    <p:nvPicPr>
                      <p:cNvPr id="211969" name="Objeto 35" hidden="1">
                        <a:extLst>
                          <a:ext uri="{FF2B5EF4-FFF2-40B4-BE49-F238E27FC236}">
                            <a16:creationId xmlns:a16="http://schemas.microsoft.com/office/drawing/2014/main" id="{5678685F-8CF5-4CC2-B596-1A0610E6E91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 name="Rectángulo 25">
            <a:extLst>
              <a:ext uri="{FF2B5EF4-FFF2-40B4-BE49-F238E27FC236}">
                <a16:creationId xmlns:a16="http://schemas.microsoft.com/office/drawing/2014/main" id="{485CE3D3-E4BC-4BAB-4D5A-70636FD1D048}"/>
              </a:ext>
            </a:extLst>
          </p:cNvPr>
          <p:cNvSpPr/>
          <p:nvPr/>
        </p:nvSpPr>
        <p:spPr>
          <a:xfrm>
            <a:off x="649288" y="5561013"/>
            <a:ext cx="1868487" cy="12176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pic>
        <p:nvPicPr>
          <p:cNvPr id="211971" name="Picture 16" descr="A person wearing a suit and tie smiling at the camera&#10;&#10;Description automatically generated">
            <a:extLst>
              <a:ext uri="{FF2B5EF4-FFF2-40B4-BE49-F238E27FC236}">
                <a16:creationId xmlns:a16="http://schemas.microsoft.com/office/drawing/2014/main" id="{BD7B7132-64C1-82FC-FD6D-A26B31D9613B}"/>
              </a:ext>
            </a:extLst>
          </p:cNvPr>
          <p:cNvPicPr>
            <a:picLocks noChangeArrowheads="1"/>
          </p:cNvPicPr>
          <p:nvPr/>
        </p:nvPicPr>
        <p:blipFill>
          <a:blip r:embed="rId7">
            <a:grayscl/>
            <a:extLst>
              <a:ext uri="{28A0092B-C50C-407E-A947-70E740481C1C}">
                <a14:useLocalDpi xmlns:a14="http://schemas.microsoft.com/office/drawing/2010/main" val="0"/>
              </a:ext>
            </a:extLst>
          </a:blip>
          <a:srcRect l="7141" r="7141"/>
          <a:stretch>
            <a:fillRect/>
          </a:stretch>
        </p:blipFill>
        <p:spPr bwMode="auto">
          <a:xfrm>
            <a:off x="5810250" y="1447800"/>
            <a:ext cx="1139825"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72" name="Picture 4" descr="A person smiling for the camera&#10;&#10;Description automatically generated">
            <a:extLst>
              <a:ext uri="{FF2B5EF4-FFF2-40B4-BE49-F238E27FC236}">
                <a16:creationId xmlns:a16="http://schemas.microsoft.com/office/drawing/2014/main" id="{86987AAD-A34E-2674-4617-03E53BCCE08A}"/>
              </a:ext>
            </a:extLst>
          </p:cNvPr>
          <p:cNvPicPr>
            <a:picLocks noChangeArrowheads="1"/>
          </p:cNvPicPr>
          <p:nvPr/>
        </p:nvPicPr>
        <p:blipFill>
          <a:blip r:embed="rId8">
            <a:grayscl/>
            <a:extLst>
              <a:ext uri="{28A0092B-C50C-407E-A947-70E740481C1C}">
                <a14:useLocalDpi xmlns:a14="http://schemas.microsoft.com/office/drawing/2010/main" val="0"/>
              </a:ext>
            </a:extLst>
          </a:blip>
          <a:srcRect t="1968" b="15497"/>
          <a:stretch>
            <a:fillRect/>
          </a:stretch>
        </p:blipFill>
        <p:spPr bwMode="auto">
          <a:xfrm>
            <a:off x="3235325" y="2816225"/>
            <a:ext cx="1141413"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73" name="Picture 8" descr="A person wearing a suit and tie smiling and looking at the camera&#10;&#10;Description automatically generated">
            <a:extLst>
              <a:ext uri="{FF2B5EF4-FFF2-40B4-BE49-F238E27FC236}">
                <a16:creationId xmlns:a16="http://schemas.microsoft.com/office/drawing/2014/main" id="{D5F08969-8E41-D842-EAA1-F1CDFFD38A17}"/>
              </a:ext>
            </a:extLst>
          </p:cNvPr>
          <p:cNvPicPr>
            <a:picLocks noChangeArrowheads="1"/>
          </p:cNvPicPr>
          <p:nvPr/>
        </p:nvPicPr>
        <p:blipFill>
          <a:blip r:embed="rId9">
            <a:grayscl/>
            <a:extLst>
              <a:ext uri="{28A0092B-C50C-407E-A947-70E740481C1C}">
                <a14:useLocalDpi xmlns:a14="http://schemas.microsoft.com/office/drawing/2010/main" val="0"/>
              </a:ext>
            </a:extLst>
          </a:blip>
          <a:srcRect t="1859" b="12744"/>
          <a:stretch>
            <a:fillRect/>
          </a:stretch>
        </p:blipFill>
        <p:spPr bwMode="auto">
          <a:xfrm>
            <a:off x="5810250" y="79375"/>
            <a:ext cx="1139825"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74" name="Picture 10" descr="A person wearing glasses posing for the camera&#10;&#10;Description automatically generated">
            <a:extLst>
              <a:ext uri="{FF2B5EF4-FFF2-40B4-BE49-F238E27FC236}">
                <a16:creationId xmlns:a16="http://schemas.microsoft.com/office/drawing/2014/main" id="{02E4F64F-1499-DA83-4FCC-F72835F33E76}"/>
              </a:ext>
            </a:extLst>
          </p:cNvPr>
          <p:cNvPicPr>
            <a:picLocks noChangeArrowheads="1"/>
          </p:cNvPicPr>
          <p:nvPr/>
        </p:nvPicPr>
        <p:blipFill>
          <a:blip r:embed="rId10">
            <a:grayscl/>
            <a:extLst>
              <a:ext uri="{28A0092B-C50C-407E-A947-70E740481C1C}">
                <a14:useLocalDpi xmlns:a14="http://schemas.microsoft.com/office/drawing/2010/main" val="0"/>
              </a:ext>
            </a:extLst>
          </a:blip>
          <a:srcRect t="3221" b="3221"/>
          <a:stretch>
            <a:fillRect/>
          </a:stretch>
        </p:blipFill>
        <p:spPr bwMode="auto">
          <a:xfrm>
            <a:off x="1941513" y="4186238"/>
            <a:ext cx="1139825" cy="121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75" name="Picture 14" descr="A person wearing a suit and tie smiling at the camera&#10;&#10;Description automatically generated">
            <a:extLst>
              <a:ext uri="{FF2B5EF4-FFF2-40B4-BE49-F238E27FC236}">
                <a16:creationId xmlns:a16="http://schemas.microsoft.com/office/drawing/2014/main" id="{5FEEDAD4-7E26-8486-B8C3-616328B62A38}"/>
              </a:ext>
            </a:extLst>
          </p:cNvPr>
          <p:cNvPicPr>
            <a:picLocks noChangeArrowheads="1"/>
          </p:cNvPicPr>
          <p:nvPr/>
        </p:nvPicPr>
        <p:blipFill>
          <a:blip r:embed="rId11">
            <a:grayscl/>
            <a:extLst>
              <a:ext uri="{28A0092B-C50C-407E-A947-70E740481C1C}">
                <a14:useLocalDpi xmlns:a14="http://schemas.microsoft.com/office/drawing/2010/main" val="0"/>
              </a:ext>
            </a:extLst>
          </a:blip>
          <a:srcRect/>
          <a:stretch>
            <a:fillRect/>
          </a:stretch>
        </p:blipFill>
        <p:spPr bwMode="auto">
          <a:xfrm>
            <a:off x="5810250" y="4186238"/>
            <a:ext cx="1139825" cy="121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76" name="Picture 18" descr="A person smiling for the camera&#10;&#10;Description automatically generated">
            <a:extLst>
              <a:ext uri="{FF2B5EF4-FFF2-40B4-BE49-F238E27FC236}">
                <a16:creationId xmlns:a16="http://schemas.microsoft.com/office/drawing/2014/main" id="{8DF2357F-2A37-A112-B23E-745B0BDCEBFB}"/>
              </a:ext>
            </a:extLst>
          </p:cNvPr>
          <p:cNvPicPr>
            <a:picLocks noChangeArrowheads="1"/>
          </p:cNvPicPr>
          <p:nvPr/>
        </p:nvPicPr>
        <p:blipFill>
          <a:blip r:embed="rId12">
            <a:grayscl/>
            <a:extLst>
              <a:ext uri="{28A0092B-C50C-407E-A947-70E740481C1C}">
                <a14:useLocalDpi xmlns:a14="http://schemas.microsoft.com/office/drawing/2010/main" val="0"/>
              </a:ext>
            </a:extLst>
          </a:blip>
          <a:srcRect t="2823" b="20885"/>
          <a:stretch>
            <a:fillRect/>
          </a:stretch>
        </p:blipFill>
        <p:spPr bwMode="auto">
          <a:xfrm>
            <a:off x="1960563" y="5554663"/>
            <a:ext cx="1141412" cy="121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77" name="Picture 20" descr="A person wearing a suit and tie smiling and looking at the camera&#10;&#10;Description automatically generated">
            <a:extLst>
              <a:ext uri="{FF2B5EF4-FFF2-40B4-BE49-F238E27FC236}">
                <a16:creationId xmlns:a16="http://schemas.microsoft.com/office/drawing/2014/main" id="{F4DAF260-7BFA-0B53-8009-EF58C2BCCFEC}"/>
              </a:ext>
            </a:extLst>
          </p:cNvPr>
          <p:cNvPicPr>
            <a:picLocks noChangeArrowheads="1"/>
          </p:cNvPicPr>
          <p:nvPr/>
        </p:nvPicPr>
        <p:blipFill>
          <a:blip r:embed="rId13">
            <a:grayscl/>
            <a:extLst>
              <a:ext uri="{28A0092B-C50C-407E-A947-70E740481C1C}">
                <a14:useLocalDpi xmlns:a14="http://schemas.microsoft.com/office/drawing/2010/main" val="0"/>
              </a:ext>
            </a:extLst>
          </a:blip>
          <a:srcRect l="13960" r="12425"/>
          <a:stretch>
            <a:fillRect/>
          </a:stretch>
        </p:blipFill>
        <p:spPr bwMode="auto">
          <a:xfrm>
            <a:off x="1941513" y="2816225"/>
            <a:ext cx="1139825"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78" name="Picture 22" descr="A person wearing a suit and tie&#10;&#10;Description automatically generated">
            <a:extLst>
              <a:ext uri="{FF2B5EF4-FFF2-40B4-BE49-F238E27FC236}">
                <a16:creationId xmlns:a16="http://schemas.microsoft.com/office/drawing/2014/main" id="{AEBB864B-02A7-43FE-7237-C24CA2871792}"/>
              </a:ext>
            </a:extLst>
          </p:cNvPr>
          <p:cNvPicPr>
            <a:picLocks noChangeArrowheads="1"/>
          </p:cNvPicPr>
          <p:nvPr/>
        </p:nvPicPr>
        <p:blipFill>
          <a:blip r:embed="rId14">
            <a:grayscl/>
            <a:extLst>
              <a:ext uri="{28A0092B-C50C-407E-A947-70E740481C1C}">
                <a14:useLocalDpi xmlns:a14="http://schemas.microsoft.com/office/drawing/2010/main" val="0"/>
              </a:ext>
            </a:extLst>
          </a:blip>
          <a:srcRect l="5913" r="5913"/>
          <a:stretch>
            <a:fillRect/>
          </a:stretch>
        </p:blipFill>
        <p:spPr bwMode="auto">
          <a:xfrm>
            <a:off x="7083425" y="5554663"/>
            <a:ext cx="1139825" cy="121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79" name="Picture 24" descr="A person smiling for the camera&#10;&#10;Description automatically generated">
            <a:extLst>
              <a:ext uri="{FF2B5EF4-FFF2-40B4-BE49-F238E27FC236}">
                <a16:creationId xmlns:a16="http://schemas.microsoft.com/office/drawing/2014/main" id="{64DB6BF2-FAAA-FD61-A371-4AE1FA9C9558}"/>
              </a:ext>
            </a:extLst>
          </p:cNvPr>
          <p:cNvPicPr>
            <a:picLocks noChangeArrowheads="1"/>
          </p:cNvPicPr>
          <p:nvPr/>
        </p:nvPicPr>
        <p:blipFill>
          <a:blip r:embed="rId15">
            <a:grayscl/>
            <a:extLst>
              <a:ext uri="{28A0092B-C50C-407E-A947-70E740481C1C}">
                <a14:useLocalDpi xmlns:a14="http://schemas.microsoft.com/office/drawing/2010/main" val="0"/>
              </a:ext>
            </a:extLst>
          </a:blip>
          <a:srcRect t="3354" b="25407"/>
          <a:stretch>
            <a:fillRect/>
          </a:stretch>
        </p:blipFill>
        <p:spPr bwMode="auto">
          <a:xfrm>
            <a:off x="5789613" y="5554663"/>
            <a:ext cx="1139825" cy="121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80" name="Picture 28" descr="A person wearing a blue shirt and smiling at the camera&#10;&#10;Description automatically generated">
            <a:extLst>
              <a:ext uri="{FF2B5EF4-FFF2-40B4-BE49-F238E27FC236}">
                <a16:creationId xmlns:a16="http://schemas.microsoft.com/office/drawing/2014/main" id="{DD184B82-F017-7BB3-3CEA-57EAFB14C568}"/>
              </a:ext>
            </a:extLst>
          </p:cNvPr>
          <p:cNvPicPr>
            <a:picLocks noChangeArrowheads="1"/>
          </p:cNvPicPr>
          <p:nvPr/>
        </p:nvPicPr>
        <p:blipFill>
          <a:blip r:embed="rId16">
            <a:grayscl/>
            <a:extLst>
              <a:ext uri="{28A0092B-C50C-407E-A947-70E740481C1C}">
                <a14:useLocalDpi xmlns:a14="http://schemas.microsoft.com/office/drawing/2010/main" val="0"/>
              </a:ext>
            </a:extLst>
          </a:blip>
          <a:srcRect l="29752" r="16229" b="13521"/>
          <a:stretch>
            <a:fillRect/>
          </a:stretch>
        </p:blipFill>
        <p:spPr bwMode="auto">
          <a:xfrm>
            <a:off x="3235325" y="79375"/>
            <a:ext cx="1141413"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81" name="Picture 36" descr="A person smiling for the camera&#10;&#10;Description automatically generated">
            <a:extLst>
              <a:ext uri="{FF2B5EF4-FFF2-40B4-BE49-F238E27FC236}">
                <a16:creationId xmlns:a16="http://schemas.microsoft.com/office/drawing/2014/main" id="{70369036-0AFF-BB2B-17B2-13FD358B64F2}"/>
              </a:ext>
            </a:extLst>
          </p:cNvPr>
          <p:cNvPicPr>
            <a:picLocks noChangeArrowheads="1"/>
          </p:cNvPicPr>
          <p:nvPr/>
        </p:nvPicPr>
        <p:blipFill>
          <a:blip r:embed="rId17">
            <a:grayscl/>
            <a:extLst>
              <a:ext uri="{28A0092B-C50C-407E-A947-70E740481C1C}">
                <a14:useLocalDpi xmlns:a14="http://schemas.microsoft.com/office/drawing/2010/main" val="0"/>
              </a:ext>
            </a:extLst>
          </a:blip>
          <a:srcRect/>
          <a:stretch>
            <a:fillRect/>
          </a:stretch>
        </p:blipFill>
        <p:spPr bwMode="auto">
          <a:xfrm>
            <a:off x="4524375" y="4186238"/>
            <a:ext cx="1141413" cy="121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82" name="Picture 40" descr="A person wearing glasses and smiling at the camera&#10;&#10;Description automatically generated">
            <a:extLst>
              <a:ext uri="{FF2B5EF4-FFF2-40B4-BE49-F238E27FC236}">
                <a16:creationId xmlns:a16="http://schemas.microsoft.com/office/drawing/2014/main" id="{1EE70567-7C92-D1A8-1BFA-B78768E4C15C}"/>
              </a:ext>
            </a:extLst>
          </p:cNvPr>
          <p:cNvPicPr>
            <a:picLocks noChangeArrowheads="1"/>
          </p:cNvPicPr>
          <p:nvPr/>
        </p:nvPicPr>
        <p:blipFill>
          <a:blip r:embed="rId18">
            <a:grayscl/>
            <a:extLst>
              <a:ext uri="{28A0092B-C50C-407E-A947-70E740481C1C}">
                <a14:useLocalDpi xmlns:a14="http://schemas.microsoft.com/office/drawing/2010/main" val="0"/>
              </a:ext>
            </a:extLst>
          </a:blip>
          <a:srcRect t="-237" b="20174"/>
          <a:stretch>
            <a:fillRect/>
          </a:stretch>
        </p:blipFill>
        <p:spPr bwMode="auto">
          <a:xfrm>
            <a:off x="8389938" y="1447800"/>
            <a:ext cx="1141412"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83" name="Picture 44" descr="A person smiling for the camera&#10;&#10;Description automatically generated">
            <a:extLst>
              <a:ext uri="{FF2B5EF4-FFF2-40B4-BE49-F238E27FC236}">
                <a16:creationId xmlns:a16="http://schemas.microsoft.com/office/drawing/2014/main" id="{DA5FB546-3918-4BA7-34B9-36493A9FFE89}"/>
              </a:ext>
            </a:extLst>
          </p:cNvPr>
          <p:cNvPicPr>
            <a:picLocks noChangeArrowheads="1"/>
          </p:cNvPicPr>
          <p:nvPr/>
        </p:nvPicPr>
        <p:blipFill>
          <a:blip r:embed="rId19">
            <a:grayscl/>
            <a:extLst>
              <a:ext uri="{28A0092B-C50C-407E-A947-70E740481C1C}">
                <a14:useLocalDpi xmlns:a14="http://schemas.microsoft.com/office/drawing/2010/main" val="0"/>
              </a:ext>
            </a:extLst>
          </a:blip>
          <a:srcRect/>
          <a:stretch>
            <a:fillRect/>
          </a:stretch>
        </p:blipFill>
        <p:spPr bwMode="auto">
          <a:xfrm>
            <a:off x="9683750" y="4186238"/>
            <a:ext cx="1139825" cy="121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84" name="Picture 48" descr="A person smiling for the camera&#10;&#10;Description automatically generated">
            <a:extLst>
              <a:ext uri="{FF2B5EF4-FFF2-40B4-BE49-F238E27FC236}">
                <a16:creationId xmlns:a16="http://schemas.microsoft.com/office/drawing/2014/main" id="{D52B7774-1C12-B5E0-903B-90860F302652}"/>
              </a:ext>
            </a:extLst>
          </p:cNvPr>
          <p:cNvPicPr>
            <a:picLocks noChangeArrowheads="1"/>
          </p:cNvPicPr>
          <p:nvPr/>
        </p:nvPicPr>
        <p:blipFill>
          <a:blip r:embed="rId20">
            <a:grayscl/>
            <a:extLst>
              <a:ext uri="{28A0092B-C50C-407E-A947-70E740481C1C}">
                <a14:useLocalDpi xmlns:a14="http://schemas.microsoft.com/office/drawing/2010/main" val="0"/>
              </a:ext>
            </a:extLst>
          </a:blip>
          <a:srcRect t="1093" b="13530"/>
          <a:stretch>
            <a:fillRect/>
          </a:stretch>
        </p:blipFill>
        <p:spPr bwMode="auto">
          <a:xfrm>
            <a:off x="9683750" y="1447800"/>
            <a:ext cx="1139825"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85" name="Picture 52" descr="A person wearing a suit and tie&#10;&#10;Description automatically generated">
            <a:extLst>
              <a:ext uri="{FF2B5EF4-FFF2-40B4-BE49-F238E27FC236}">
                <a16:creationId xmlns:a16="http://schemas.microsoft.com/office/drawing/2014/main" id="{295F5D43-3158-AC6F-9250-94DB34262D8D}"/>
              </a:ext>
            </a:extLst>
          </p:cNvPr>
          <p:cNvPicPr>
            <a:picLocks noChangeArrowheads="1"/>
          </p:cNvPicPr>
          <p:nvPr/>
        </p:nvPicPr>
        <p:blipFill>
          <a:blip r:embed="rId21">
            <a:grayscl/>
            <a:extLst>
              <a:ext uri="{28A0092B-C50C-407E-A947-70E740481C1C}">
                <a14:useLocalDpi xmlns:a14="http://schemas.microsoft.com/office/drawing/2010/main" val="0"/>
              </a:ext>
            </a:extLst>
          </a:blip>
          <a:srcRect t="6111" b="22913"/>
          <a:stretch>
            <a:fillRect/>
          </a:stretch>
        </p:blipFill>
        <p:spPr bwMode="auto">
          <a:xfrm>
            <a:off x="1941513" y="79375"/>
            <a:ext cx="1139825"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86" name="Picture 54">
            <a:extLst>
              <a:ext uri="{FF2B5EF4-FFF2-40B4-BE49-F238E27FC236}">
                <a16:creationId xmlns:a16="http://schemas.microsoft.com/office/drawing/2014/main" id="{AE7BA4B7-A85F-4A89-02C8-D6344EC94240}"/>
              </a:ext>
            </a:extLst>
          </p:cNvPr>
          <p:cNvPicPr>
            <a:picLocks noChangeArrowheads="1"/>
          </p:cNvPicPr>
          <p:nvPr/>
        </p:nvPicPr>
        <p:blipFill>
          <a:blip r:embed="rId22">
            <a:grayscl/>
            <a:extLst>
              <a:ext uri="{28A0092B-C50C-407E-A947-70E740481C1C}">
                <a14:useLocalDpi xmlns:a14="http://schemas.microsoft.com/office/drawing/2010/main" val="0"/>
              </a:ext>
            </a:extLst>
          </a:blip>
          <a:srcRect l="16037" t="8682" r="2731" b="4623"/>
          <a:stretch>
            <a:fillRect/>
          </a:stretch>
        </p:blipFill>
        <p:spPr bwMode="auto">
          <a:xfrm>
            <a:off x="3195638" y="5554663"/>
            <a:ext cx="1139825" cy="121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87" name="Picture 58" descr="A person who is smiling and looking at the camera&#10;&#10;Description automatically generated">
            <a:extLst>
              <a:ext uri="{FF2B5EF4-FFF2-40B4-BE49-F238E27FC236}">
                <a16:creationId xmlns:a16="http://schemas.microsoft.com/office/drawing/2014/main" id="{837DE408-D9E0-D141-A85C-1E71CC7D8D0B}"/>
              </a:ext>
            </a:extLst>
          </p:cNvPr>
          <p:cNvPicPr>
            <a:picLocks noChangeArrowheads="1"/>
          </p:cNvPicPr>
          <p:nvPr/>
        </p:nvPicPr>
        <p:blipFill>
          <a:blip r:embed="rId23">
            <a:grayscl/>
            <a:extLst>
              <a:ext uri="{28A0092B-C50C-407E-A947-70E740481C1C}">
                <a14:useLocalDpi xmlns:a14="http://schemas.microsoft.com/office/drawing/2010/main" val="0"/>
              </a:ext>
            </a:extLst>
          </a:blip>
          <a:srcRect l="7381" t="3905" r="9673" b="37080"/>
          <a:stretch>
            <a:fillRect/>
          </a:stretch>
        </p:blipFill>
        <p:spPr bwMode="auto">
          <a:xfrm>
            <a:off x="9683750" y="79375"/>
            <a:ext cx="1139825"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88" name="Picture 60" descr="A person wearing glasses and smiling at the camera&#10;&#10;Description automatically generated">
            <a:extLst>
              <a:ext uri="{FF2B5EF4-FFF2-40B4-BE49-F238E27FC236}">
                <a16:creationId xmlns:a16="http://schemas.microsoft.com/office/drawing/2014/main" id="{5AB22C8F-AF4E-41A9-3341-7DB2744D9125}"/>
              </a:ext>
            </a:extLst>
          </p:cNvPr>
          <p:cNvPicPr>
            <a:picLocks noChangeArrowheads="1"/>
          </p:cNvPicPr>
          <p:nvPr/>
        </p:nvPicPr>
        <p:blipFill>
          <a:blip r:embed="rId24">
            <a:grayscl/>
            <a:extLst>
              <a:ext uri="{28A0092B-C50C-407E-A947-70E740481C1C}">
                <a14:useLocalDpi xmlns:a14="http://schemas.microsoft.com/office/drawing/2010/main" val="0"/>
              </a:ext>
            </a:extLst>
          </a:blip>
          <a:srcRect t="819" b="28030"/>
          <a:stretch>
            <a:fillRect/>
          </a:stretch>
        </p:blipFill>
        <p:spPr bwMode="auto">
          <a:xfrm>
            <a:off x="8389938" y="2816225"/>
            <a:ext cx="1141412"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89" name="Picture 6" descr="A person wearing a suit and tie smiling at the camera&#10;&#10;Description automatically generated">
            <a:extLst>
              <a:ext uri="{FF2B5EF4-FFF2-40B4-BE49-F238E27FC236}">
                <a16:creationId xmlns:a16="http://schemas.microsoft.com/office/drawing/2014/main" id="{27A5CE50-4FE3-9C39-9C8F-0A7E412567BE}"/>
              </a:ext>
            </a:extLst>
          </p:cNvPr>
          <p:cNvPicPr>
            <a:picLocks noChangeArrowheads="1"/>
          </p:cNvPicPr>
          <p:nvPr/>
        </p:nvPicPr>
        <p:blipFill>
          <a:blip r:embed="rId25">
            <a:grayscl/>
            <a:extLst>
              <a:ext uri="{28A0092B-C50C-407E-A947-70E740481C1C}">
                <a14:useLocalDpi xmlns:a14="http://schemas.microsoft.com/office/drawing/2010/main" val="0"/>
              </a:ext>
            </a:extLst>
          </a:blip>
          <a:srcRect l="2882" r="11359" b="8476"/>
          <a:stretch>
            <a:fillRect/>
          </a:stretch>
        </p:blipFill>
        <p:spPr bwMode="auto">
          <a:xfrm>
            <a:off x="649288" y="79375"/>
            <a:ext cx="1141412"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90" name="Picture 12" descr="A person smiling for the camera&#10;&#10;Description automatically generated">
            <a:extLst>
              <a:ext uri="{FF2B5EF4-FFF2-40B4-BE49-F238E27FC236}">
                <a16:creationId xmlns:a16="http://schemas.microsoft.com/office/drawing/2014/main" id="{8ED3B1B8-C65D-AD91-DCCC-FCBF0A3A8CFA}"/>
              </a:ext>
            </a:extLst>
          </p:cNvPr>
          <p:cNvPicPr>
            <a:picLocks noChangeArrowheads="1"/>
          </p:cNvPicPr>
          <p:nvPr/>
        </p:nvPicPr>
        <p:blipFill>
          <a:blip r:embed="rId26">
            <a:grayscl/>
            <a:extLst>
              <a:ext uri="{28A0092B-C50C-407E-A947-70E740481C1C}">
                <a14:useLocalDpi xmlns:a14="http://schemas.microsoft.com/office/drawing/2010/main" val="0"/>
              </a:ext>
            </a:extLst>
          </a:blip>
          <a:srcRect l="23128" r="19414" b="21236"/>
          <a:stretch>
            <a:fillRect/>
          </a:stretch>
        </p:blipFill>
        <p:spPr bwMode="auto">
          <a:xfrm>
            <a:off x="4524375" y="2816225"/>
            <a:ext cx="1141413"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91" name="Picture 34" descr="A person smiling for the camera&#10;&#10;Description automatically generated">
            <a:extLst>
              <a:ext uri="{FF2B5EF4-FFF2-40B4-BE49-F238E27FC236}">
                <a16:creationId xmlns:a16="http://schemas.microsoft.com/office/drawing/2014/main" id="{DF56BE44-D118-DE59-B2B0-57180DAD46AC}"/>
              </a:ext>
            </a:extLst>
          </p:cNvPr>
          <p:cNvPicPr>
            <a:picLocks noChangeArrowheads="1"/>
          </p:cNvPicPr>
          <p:nvPr/>
        </p:nvPicPr>
        <p:blipFill>
          <a:blip r:embed="rId27">
            <a:grayscl/>
            <a:extLst>
              <a:ext uri="{28A0092B-C50C-407E-A947-70E740481C1C}">
                <a14:useLocalDpi xmlns:a14="http://schemas.microsoft.com/office/drawing/2010/main" val="0"/>
              </a:ext>
            </a:extLst>
          </a:blip>
          <a:srcRect l="3149" r="3149"/>
          <a:stretch>
            <a:fillRect/>
          </a:stretch>
        </p:blipFill>
        <p:spPr bwMode="auto">
          <a:xfrm>
            <a:off x="5810250" y="2816225"/>
            <a:ext cx="1139825"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92" name="Picture 29" descr="A person posing for the camera&#10;&#10;Description automatically generated">
            <a:extLst>
              <a:ext uri="{FF2B5EF4-FFF2-40B4-BE49-F238E27FC236}">
                <a16:creationId xmlns:a16="http://schemas.microsoft.com/office/drawing/2014/main" id="{D2ABF05B-2F5E-EEB6-6178-DE1C160D97CD}"/>
              </a:ext>
            </a:extLst>
          </p:cNvPr>
          <p:cNvPicPr>
            <a:picLocks noChangeArrowheads="1"/>
          </p:cNvPicPr>
          <p:nvPr/>
        </p:nvPicPr>
        <p:blipFill>
          <a:blip r:embed="rId28">
            <a:extLst>
              <a:ext uri="{28A0092B-C50C-407E-A947-70E740481C1C}">
                <a14:useLocalDpi xmlns:a14="http://schemas.microsoft.com/office/drawing/2010/main" val="0"/>
              </a:ext>
            </a:extLst>
          </a:blip>
          <a:srcRect l="3149" r="3149"/>
          <a:stretch>
            <a:fillRect/>
          </a:stretch>
        </p:blipFill>
        <p:spPr bwMode="auto">
          <a:xfrm>
            <a:off x="4489450" y="5554663"/>
            <a:ext cx="1139825" cy="121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93" name="Picture 31" descr="A person smiling for the camera&#10;&#10;Description automatically generated">
            <a:extLst>
              <a:ext uri="{FF2B5EF4-FFF2-40B4-BE49-F238E27FC236}">
                <a16:creationId xmlns:a16="http://schemas.microsoft.com/office/drawing/2014/main" id="{B05478C2-AE02-A191-6E93-83F9FEF6B188}"/>
              </a:ext>
            </a:extLst>
          </p:cNvPr>
          <p:cNvPicPr>
            <a:picLocks noChangeArrowheads="1"/>
          </p:cNvPicPr>
          <p:nvPr/>
        </p:nvPicPr>
        <p:blipFill>
          <a:blip r:embed="rId29">
            <a:grayscl/>
            <a:extLst>
              <a:ext uri="{28A0092B-C50C-407E-A947-70E740481C1C}">
                <a14:useLocalDpi xmlns:a14="http://schemas.microsoft.com/office/drawing/2010/main" val="0"/>
              </a:ext>
            </a:extLst>
          </a:blip>
          <a:srcRect l="3149" r="3149"/>
          <a:stretch>
            <a:fillRect/>
          </a:stretch>
        </p:blipFill>
        <p:spPr bwMode="auto">
          <a:xfrm>
            <a:off x="10977563" y="1447800"/>
            <a:ext cx="1139825"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94" name="Picture 33" descr="A person posing for the camera&#10;&#10;Description automatically generated">
            <a:extLst>
              <a:ext uri="{FF2B5EF4-FFF2-40B4-BE49-F238E27FC236}">
                <a16:creationId xmlns:a16="http://schemas.microsoft.com/office/drawing/2014/main" id="{433FAC42-F09F-8E21-B8DD-9493FA0BD103}"/>
              </a:ext>
            </a:extLst>
          </p:cNvPr>
          <p:cNvPicPr>
            <a:picLocks noChangeArrowheads="1"/>
          </p:cNvPicPr>
          <p:nvPr/>
        </p:nvPicPr>
        <p:blipFill>
          <a:blip r:embed="rId30">
            <a:extLst>
              <a:ext uri="{28A0092B-C50C-407E-A947-70E740481C1C}">
                <a14:useLocalDpi xmlns:a14="http://schemas.microsoft.com/office/drawing/2010/main" val="0"/>
              </a:ext>
            </a:extLst>
          </a:blip>
          <a:srcRect l="3149" r="3149"/>
          <a:stretch>
            <a:fillRect/>
          </a:stretch>
        </p:blipFill>
        <p:spPr bwMode="auto">
          <a:xfrm>
            <a:off x="7099300" y="79375"/>
            <a:ext cx="1139825"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95" name="Picture 37" descr="A person smiling for the camera&#10;&#10;Description automatically generated">
            <a:extLst>
              <a:ext uri="{FF2B5EF4-FFF2-40B4-BE49-F238E27FC236}">
                <a16:creationId xmlns:a16="http://schemas.microsoft.com/office/drawing/2014/main" id="{0DFA5FCC-F3BF-1A7E-8CD5-87E364F1EF43}"/>
              </a:ext>
            </a:extLst>
          </p:cNvPr>
          <p:cNvPicPr>
            <a:picLocks noChangeArrowheads="1"/>
          </p:cNvPicPr>
          <p:nvPr/>
        </p:nvPicPr>
        <p:blipFill>
          <a:blip r:embed="rId31">
            <a:grayscl/>
            <a:extLst>
              <a:ext uri="{28A0092B-C50C-407E-A947-70E740481C1C}">
                <a14:useLocalDpi xmlns:a14="http://schemas.microsoft.com/office/drawing/2010/main" val="0"/>
              </a:ext>
            </a:extLst>
          </a:blip>
          <a:srcRect l="3149" r="3149"/>
          <a:stretch>
            <a:fillRect/>
          </a:stretch>
        </p:blipFill>
        <p:spPr bwMode="auto">
          <a:xfrm>
            <a:off x="3235325" y="1447800"/>
            <a:ext cx="1141413"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96" name="Picture 41" descr="A person wearing glasses and smiling at the camera&#10;&#10;Description automatically generated">
            <a:extLst>
              <a:ext uri="{FF2B5EF4-FFF2-40B4-BE49-F238E27FC236}">
                <a16:creationId xmlns:a16="http://schemas.microsoft.com/office/drawing/2014/main" id="{AD2172FB-19FE-3D14-32C8-6A014E9050E4}"/>
              </a:ext>
            </a:extLst>
          </p:cNvPr>
          <p:cNvPicPr>
            <a:picLocks noChangeArrowheads="1"/>
          </p:cNvPicPr>
          <p:nvPr/>
        </p:nvPicPr>
        <p:blipFill>
          <a:blip r:embed="rId32">
            <a:grayscl/>
            <a:extLst>
              <a:ext uri="{28A0092B-C50C-407E-A947-70E740481C1C}">
                <a14:useLocalDpi xmlns:a14="http://schemas.microsoft.com/office/drawing/2010/main" val="0"/>
              </a:ext>
            </a:extLst>
          </a:blip>
          <a:srcRect l="3149" r="3149"/>
          <a:stretch>
            <a:fillRect/>
          </a:stretch>
        </p:blipFill>
        <p:spPr bwMode="auto">
          <a:xfrm>
            <a:off x="7099300" y="2816225"/>
            <a:ext cx="1139825"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97" name="Picture 46" descr="A person in a blue shirt&#10;&#10;Description automatically generated">
            <a:extLst>
              <a:ext uri="{FF2B5EF4-FFF2-40B4-BE49-F238E27FC236}">
                <a16:creationId xmlns:a16="http://schemas.microsoft.com/office/drawing/2014/main" id="{FAB5BA97-6A2B-D8D5-9A8F-DB5073C35F4A}"/>
              </a:ext>
            </a:extLst>
          </p:cNvPr>
          <p:cNvPicPr>
            <a:picLocks noChangeArrowheads="1"/>
          </p:cNvPicPr>
          <p:nvPr/>
        </p:nvPicPr>
        <p:blipFill>
          <a:blip r:embed="rId33">
            <a:grayscl/>
            <a:extLst>
              <a:ext uri="{28A0092B-C50C-407E-A947-70E740481C1C}">
                <a14:useLocalDpi xmlns:a14="http://schemas.microsoft.com/office/drawing/2010/main" val="0"/>
              </a:ext>
            </a:extLst>
          </a:blip>
          <a:srcRect/>
          <a:stretch>
            <a:fillRect/>
          </a:stretch>
        </p:blipFill>
        <p:spPr bwMode="auto">
          <a:xfrm>
            <a:off x="649288" y="1447800"/>
            <a:ext cx="1141412"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98" name="Picture 51" descr="A person wearing a suit and tie smiling at the camera&#10;&#10;Description automatically generated">
            <a:extLst>
              <a:ext uri="{FF2B5EF4-FFF2-40B4-BE49-F238E27FC236}">
                <a16:creationId xmlns:a16="http://schemas.microsoft.com/office/drawing/2014/main" id="{D38C1D0B-461E-D260-F408-7ADA5DA2FDDA}"/>
              </a:ext>
            </a:extLst>
          </p:cNvPr>
          <p:cNvPicPr>
            <a:picLocks noChangeArrowheads="1"/>
          </p:cNvPicPr>
          <p:nvPr/>
        </p:nvPicPr>
        <p:blipFill>
          <a:blip r:embed="rId34">
            <a:extLst>
              <a:ext uri="{28A0092B-C50C-407E-A947-70E740481C1C}">
                <a14:useLocalDpi xmlns:a14="http://schemas.microsoft.com/office/drawing/2010/main" val="0"/>
              </a:ext>
            </a:extLst>
          </a:blip>
          <a:srcRect l="18845" r="18845"/>
          <a:stretch>
            <a:fillRect/>
          </a:stretch>
        </p:blipFill>
        <p:spPr bwMode="auto">
          <a:xfrm>
            <a:off x="4524375" y="1447800"/>
            <a:ext cx="1141413"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99" name="Picture 3" descr="A person in a red shirt and smiling at the camera&#10;&#10;Description automatically generated">
            <a:extLst>
              <a:ext uri="{FF2B5EF4-FFF2-40B4-BE49-F238E27FC236}">
                <a16:creationId xmlns:a16="http://schemas.microsoft.com/office/drawing/2014/main" id="{080A3900-3363-DC0A-EBBD-41EA8384AF36}"/>
              </a:ext>
            </a:extLst>
          </p:cNvPr>
          <p:cNvPicPr>
            <a:picLocks noChangeArrowheads="1"/>
          </p:cNvPicPr>
          <p:nvPr/>
        </p:nvPicPr>
        <p:blipFill>
          <a:blip r:embed="rId35">
            <a:grayscl/>
            <a:extLst>
              <a:ext uri="{28A0092B-C50C-407E-A947-70E740481C1C}">
                <a14:useLocalDpi xmlns:a14="http://schemas.microsoft.com/office/drawing/2010/main" val="0"/>
              </a:ext>
            </a:extLst>
          </a:blip>
          <a:srcRect l="3149" r="3149"/>
          <a:stretch>
            <a:fillRect/>
          </a:stretch>
        </p:blipFill>
        <p:spPr bwMode="auto">
          <a:xfrm>
            <a:off x="4524375" y="79375"/>
            <a:ext cx="1141413"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2000" name="Picture 7" descr="A person posing for the camera&#10;&#10;Description automatically generated">
            <a:extLst>
              <a:ext uri="{FF2B5EF4-FFF2-40B4-BE49-F238E27FC236}">
                <a16:creationId xmlns:a16="http://schemas.microsoft.com/office/drawing/2014/main" id="{6DC85360-D800-310C-10D4-7A3402129DFE}"/>
              </a:ext>
            </a:extLst>
          </p:cNvPr>
          <p:cNvPicPr>
            <a:picLocks noChangeArrowheads="1"/>
          </p:cNvPicPr>
          <p:nvPr/>
        </p:nvPicPr>
        <p:blipFill>
          <a:blip r:embed="rId36">
            <a:grayscl/>
            <a:extLst>
              <a:ext uri="{28A0092B-C50C-407E-A947-70E740481C1C}">
                <a14:useLocalDpi xmlns:a14="http://schemas.microsoft.com/office/drawing/2010/main" val="0"/>
              </a:ext>
            </a:extLst>
          </a:blip>
          <a:srcRect t="1930" b="12801"/>
          <a:stretch>
            <a:fillRect/>
          </a:stretch>
        </p:blipFill>
        <p:spPr bwMode="auto">
          <a:xfrm>
            <a:off x="8389938" y="79375"/>
            <a:ext cx="1141412"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2001" name="Picture 11" descr="A close up of a person&#10;&#10;Description automatically generated">
            <a:extLst>
              <a:ext uri="{FF2B5EF4-FFF2-40B4-BE49-F238E27FC236}">
                <a16:creationId xmlns:a16="http://schemas.microsoft.com/office/drawing/2014/main" id="{D01B010F-7D59-6F7C-0AAA-1A634F6CB34F}"/>
              </a:ext>
            </a:extLst>
          </p:cNvPr>
          <p:cNvPicPr>
            <a:picLocks noChangeArrowheads="1"/>
          </p:cNvPicPr>
          <p:nvPr/>
        </p:nvPicPr>
        <p:blipFill>
          <a:blip r:embed="rId37">
            <a:extLst>
              <a:ext uri="{28A0092B-C50C-407E-A947-70E740481C1C}">
                <a14:useLocalDpi xmlns:a14="http://schemas.microsoft.com/office/drawing/2010/main" val="0"/>
              </a:ext>
            </a:extLst>
          </a:blip>
          <a:srcRect t="1088" b="37103"/>
          <a:stretch>
            <a:fillRect/>
          </a:stretch>
        </p:blipFill>
        <p:spPr bwMode="auto">
          <a:xfrm>
            <a:off x="649288" y="4186238"/>
            <a:ext cx="1141412" cy="121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2002" name="Picture 15" descr="A person wearing a suit and tie&#10;&#10;Description automatically generated">
            <a:extLst>
              <a:ext uri="{FF2B5EF4-FFF2-40B4-BE49-F238E27FC236}">
                <a16:creationId xmlns:a16="http://schemas.microsoft.com/office/drawing/2014/main" id="{B04FD3BC-F426-CCB1-A2B2-B56449182C94}"/>
              </a:ext>
            </a:extLst>
          </p:cNvPr>
          <p:cNvPicPr>
            <a:picLocks noChangeArrowheads="1"/>
          </p:cNvPicPr>
          <p:nvPr/>
        </p:nvPicPr>
        <p:blipFill>
          <a:blip r:embed="rId38">
            <a:grayscl/>
            <a:extLst>
              <a:ext uri="{28A0092B-C50C-407E-A947-70E740481C1C}">
                <a14:useLocalDpi xmlns:a14="http://schemas.microsoft.com/office/drawing/2010/main" val="0"/>
              </a:ext>
            </a:extLst>
          </a:blip>
          <a:srcRect l="16939" t="9729" r="13588" b="13078"/>
          <a:stretch>
            <a:fillRect/>
          </a:stretch>
        </p:blipFill>
        <p:spPr bwMode="auto">
          <a:xfrm>
            <a:off x="649288" y="2816225"/>
            <a:ext cx="1141412"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2003" name="Picture 19" descr="A person smiling for the camera&#10;&#10;Description automatically generated">
            <a:extLst>
              <a:ext uri="{FF2B5EF4-FFF2-40B4-BE49-F238E27FC236}">
                <a16:creationId xmlns:a16="http://schemas.microsoft.com/office/drawing/2014/main" id="{DFC6BEE1-C55F-6F02-5361-9EFA92609946}"/>
              </a:ext>
            </a:extLst>
          </p:cNvPr>
          <p:cNvPicPr>
            <a:picLocks noChangeArrowheads="1"/>
          </p:cNvPicPr>
          <p:nvPr/>
        </p:nvPicPr>
        <p:blipFill>
          <a:blip r:embed="rId39">
            <a:grayscl/>
            <a:extLst>
              <a:ext uri="{28A0092B-C50C-407E-A947-70E740481C1C}">
                <a14:useLocalDpi xmlns:a14="http://schemas.microsoft.com/office/drawing/2010/main" val="0"/>
              </a:ext>
            </a:extLst>
          </a:blip>
          <a:srcRect l="4073" r="4073"/>
          <a:stretch>
            <a:fillRect/>
          </a:stretch>
        </p:blipFill>
        <p:spPr bwMode="auto">
          <a:xfrm>
            <a:off x="9683750" y="2816225"/>
            <a:ext cx="1139825"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2004" name="Picture 23" descr="A person wearing a suit and tie smiling at the camera&#10;&#10;Description automatically generated">
            <a:extLst>
              <a:ext uri="{FF2B5EF4-FFF2-40B4-BE49-F238E27FC236}">
                <a16:creationId xmlns:a16="http://schemas.microsoft.com/office/drawing/2014/main" id="{3467824D-BC77-7FE3-1C51-D008D8258F4E}"/>
              </a:ext>
            </a:extLst>
          </p:cNvPr>
          <p:cNvPicPr>
            <a:picLocks noChangeArrowheads="1"/>
          </p:cNvPicPr>
          <p:nvPr/>
        </p:nvPicPr>
        <p:blipFill>
          <a:blip r:embed="rId40">
            <a:grayscl/>
            <a:extLst>
              <a:ext uri="{28A0092B-C50C-407E-A947-70E740481C1C}">
                <a14:useLocalDpi xmlns:a14="http://schemas.microsoft.com/office/drawing/2010/main" val="0"/>
              </a:ext>
            </a:extLst>
          </a:blip>
          <a:srcRect l="3149" r="3149"/>
          <a:stretch>
            <a:fillRect/>
          </a:stretch>
        </p:blipFill>
        <p:spPr bwMode="auto">
          <a:xfrm>
            <a:off x="1941513" y="1447800"/>
            <a:ext cx="1139825"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2005" name="Picture 27" descr="A person smiling for the camera&#10;&#10;Description automatically generated">
            <a:extLst>
              <a:ext uri="{FF2B5EF4-FFF2-40B4-BE49-F238E27FC236}">
                <a16:creationId xmlns:a16="http://schemas.microsoft.com/office/drawing/2014/main" id="{DA9CE459-3515-CE01-2785-3CD212D1822C}"/>
              </a:ext>
            </a:extLst>
          </p:cNvPr>
          <p:cNvPicPr>
            <a:picLocks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8389938" y="4186238"/>
            <a:ext cx="1141412" cy="121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2006" name="Picture 55" descr="A person wearing a white shirt&#10;&#10;Description automatically generated">
            <a:extLst>
              <a:ext uri="{FF2B5EF4-FFF2-40B4-BE49-F238E27FC236}">
                <a16:creationId xmlns:a16="http://schemas.microsoft.com/office/drawing/2014/main" id="{8CC1CF70-D50C-033C-B65A-9A5FDFBD12B3}"/>
              </a:ext>
            </a:extLst>
          </p:cNvPr>
          <p:cNvPicPr>
            <a:picLocks noChangeArrowheads="1"/>
          </p:cNvPicPr>
          <p:nvPr/>
        </p:nvPicPr>
        <p:blipFill>
          <a:blip r:embed="rId42">
            <a:extLst>
              <a:ext uri="{28A0092B-C50C-407E-A947-70E740481C1C}">
                <a14:useLocalDpi xmlns:a14="http://schemas.microsoft.com/office/drawing/2010/main" val="0"/>
              </a:ext>
            </a:extLst>
          </a:blip>
          <a:srcRect t="2502" b="20686"/>
          <a:stretch>
            <a:fillRect/>
          </a:stretch>
        </p:blipFill>
        <p:spPr bwMode="auto">
          <a:xfrm>
            <a:off x="7099300" y="1447800"/>
            <a:ext cx="1139825"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2007" name="Picture 32" descr="A person smiling for the camera&#10;&#10;Description automatically generated">
            <a:extLst>
              <a:ext uri="{FF2B5EF4-FFF2-40B4-BE49-F238E27FC236}">
                <a16:creationId xmlns:a16="http://schemas.microsoft.com/office/drawing/2014/main" id="{DFE4A48A-6CD7-FDE8-219C-D05223D8B331}"/>
              </a:ext>
            </a:extLst>
          </p:cNvPr>
          <p:cNvPicPr>
            <a:picLocks noChangeArrowheads="1"/>
          </p:cNvPicPr>
          <p:nvPr/>
        </p:nvPicPr>
        <p:blipFill>
          <a:blip r:embed="rId43">
            <a:grayscl/>
            <a:extLst>
              <a:ext uri="{28A0092B-C50C-407E-A947-70E740481C1C}">
                <a14:useLocalDpi xmlns:a14="http://schemas.microsoft.com/office/drawing/2010/main" val="0"/>
              </a:ext>
            </a:extLst>
          </a:blip>
          <a:srcRect t="-768" b="10712"/>
          <a:stretch>
            <a:fillRect/>
          </a:stretch>
        </p:blipFill>
        <p:spPr bwMode="auto">
          <a:xfrm>
            <a:off x="10972800" y="79375"/>
            <a:ext cx="1139825"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2008" name="Picture 13" descr="A person smiling for the camera&#10;&#10;Description automatically generated">
            <a:extLst>
              <a:ext uri="{FF2B5EF4-FFF2-40B4-BE49-F238E27FC236}">
                <a16:creationId xmlns:a16="http://schemas.microsoft.com/office/drawing/2014/main" id="{E46A6D7B-3CAB-5CB0-026F-7216C594A88A}"/>
              </a:ext>
            </a:extLst>
          </p:cNvPr>
          <p:cNvPicPr>
            <a:picLocks noChangeArrowheads="1"/>
          </p:cNvPicPr>
          <p:nvPr/>
        </p:nvPicPr>
        <p:blipFill>
          <a:blip r:embed="rId44">
            <a:grayscl/>
            <a:extLst>
              <a:ext uri="{28A0092B-C50C-407E-A947-70E740481C1C}">
                <a14:useLocalDpi xmlns:a14="http://schemas.microsoft.com/office/drawing/2010/main" val="0"/>
              </a:ext>
            </a:extLst>
          </a:blip>
          <a:srcRect l="6049" r="41241" b="15730"/>
          <a:stretch>
            <a:fillRect/>
          </a:stretch>
        </p:blipFill>
        <p:spPr bwMode="auto">
          <a:xfrm>
            <a:off x="8401050" y="5554663"/>
            <a:ext cx="1141413" cy="121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2009" name="Picture 21" descr="A person wearing a suit and tie&#10;&#10;Description automatically generated">
            <a:extLst>
              <a:ext uri="{FF2B5EF4-FFF2-40B4-BE49-F238E27FC236}">
                <a16:creationId xmlns:a16="http://schemas.microsoft.com/office/drawing/2014/main" id="{7B2ED866-A0E2-D530-7595-709E372ECD70}"/>
              </a:ext>
            </a:extLst>
          </p:cNvPr>
          <p:cNvPicPr>
            <a:picLocks noChangeArrowheads="1"/>
          </p:cNvPicPr>
          <p:nvPr/>
        </p:nvPicPr>
        <p:blipFill>
          <a:blip r:embed="rId45">
            <a:grayscl/>
            <a:extLst>
              <a:ext uri="{28A0092B-C50C-407E-A947-70E740481C1C}">
                <a14:useLocalDpi xmlns:a14="http://schemas.microsoft.com/office/drawing/2010/main" val="0"/>
              </a:ext>
            </a:extLst>
          </a:blip>
          <a:srcRect l="15446" r="19756" b="31105"/>
          <a:stretch>
            <a:fillRect/>
          </a:stretch>
        </p:blipFill>
        <p:spPr bwMode="auto">
          <a:xfrm>
            <a:off x="7099300" y="4186238"/>
            <a:ext cx="1139825" cy="121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2010" name="Picture 26" descr="A person wearing glasses and smiling at the camera&#10;&#10;Description automatically generated">
            <a:extLst>
              <a:ext uri="{FF2B5EF4-FFF2-40B4-BE49-F238E27FC236}">
                <a16:creationId xmlns:a16="http://schemas.microsoft.com/office/drawing/2014/main" id="{8160DE7A-9085-D5DC-8E4D-879169BF9F88}"/>
              </a:ext>
            </a:extLst>
          </p:cNvPr>
          <p:cNvPicPr>
            <a:picLocks noChangeArrowheads="1"/>
          </p:cNvPicPr>
          <p:nvPr/>
        </p:nvPicPr>
        <p:blipFill>
          <a:blip r:embed="rId46">
            <a:grayscl/>
            <a:extLst>
              <a:ext uri="{28A0092B-C50C-407E-A947-70E740481C1C}">
                <a14:useLocalDpi xmlns:a14="http://schemas.microsoft.com/office/drawing/2010/main" val="0"/>
              </a:ext>
            </a:extLst>
          </a:blip>
          <a:srcRect/>
          <a:stretch>
            <a:fillRect/>
          </a:stretch>
        </p:blipFill>
        <p:spPr bwMode="auto">
          <a:xfrm>
            <a:off x="10977563" y="4186238"/>
            <a:ext cx="1139825" cy="121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2011" name="Picture 50" descr="A person smiling for the camera&#10;&#10;Description automatically generated">
            <a:extLst>
              <a:ext uri="{FF2B5EF4-FFF2-40B4-BE49-F238E27FC236}">
                <a16:creationId xmlns:a16="http://schemas.microsoft.com/office/drawing/2014/main" id="{487BC2A9-A0F1-7616-079E-6F92B60BD28E}"/>
              </a:ext>
            </a:extLst>
          </p:cNvPr>
          <p:cNvPicPr>
            <a:picLocks noChangeArrowheads="1"/>
          </p:cNvPicPr>
          <p:nvPr/>
        </p:nvPicPr>
        <p:blipFill>
          <a:blip r:embed="rId47">
            <a:grayscl/>
            <a:extLst>
              <a:ext uri="{28A0092B-C50C-407E-A947-70E740481C1C}">
                <a14:useLocalDpi xmlns:a14="http://schemas.microsoft.com/office/drawing/2010/main" val="0"/>
              </a:ext>
            </a:extLst>
          </a:blip>
          <a:srcRect t="2177" b="21606"/>
          <a:stretch>
            <a:fillRect/>
          </a:stretch>
        </p:blipFill>
        <p:spPr bwMode="auto">
          <a:xfrm>
            <a:off x="642938" y="5554663"/>
            <a:ext cx="1139825" cy="121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2012" name="Picture 30" descr="A person smiling for the camera&#10;&#10;Description automatically generated">
            <a:extLst>
              <a:ext uri="{FF2B5EF4-FFF2-40B4-BE49-F238E27FC236}">
                <a16:creationId xmlns:a16="http://schemas.microsoft.com/office/drawing/2014/main" id="{800F9433-4D1C-6BCC-9743-34915960E05D}"/>
              </a:ext>
            </a:extLst>
          </p:cNvPr>
          <p:cNvPicPr>
            <a:picLocks noChangeArrowheads="1"/>
          </p:cNvPicPr>
          <p:nvPr/>
        </p:nvPicPr>
        <p:blipFill>
          <a:blip r:embed="rId48">
            <a:grayscl/>
            <a:extLst>
              <a:ext uri="{28A0092B-C50C-407E-A947-70E740481C1C}">
                <a14:useLocalDpi xmlns:a14="http://schemas.microsoft.com/office/drawing/2010/main" val="0"/>
              </a:ext>
            </a:extLst>
          </a:blip>
          <a:srcRect t="7310" b="7310"/>
          <a:stretch>
            <a:fillRect/>
          </a:stretch>
        </p:blipFill>
        <p:spPr bwMode="auto">
          <a:xfrm>
            <a:off x="10977563" y="2816225"/>
            <a:ext cx="1139825"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2013" name="Picture 39" descr="A person smiling for the camera&#10;&#10;Description automatically generated">
            <a:extLst>
              <a:ext uri="{FF2B5EF4-FFF2-40B4-BE49-F238E27FC236}">
                <a16:creationId xmlns:a16="http://schemas.microsoft.com/office/drawing/2014/main" id="{5EBDAD23-2641-DBB9-43CB-4DC870F7A713}"/>
              </a:ext>
            </a:extLst>
          </p:cNvPr>
          <p:cNvPicPr>
            <a:picLocks noChangeArrowheads="1"/>
          </p:cNvPicPr>
          <p:nvPr/>
        </p:nvPicPr>
        <p:blipFill>
          <a:blip r:embed="rId49">
            <a:grayscl/>
            <a:extLst>
              <a:ext uri="{28A0092B-C50C-407E-A947-70E740481C1C}">
                <a14:useLocalDpi xmlns:a14="http://schemas.microsoft.com/office/drawing/2010/main" val="0"/>
              </a:ext>
            </a:extLst>
          </a:blip>
          <a:srcRect l="14307" r="8995" b="28000"/>
          <a:stretch>
            <a:fillRect/>
          </a:stretch>
        </p:blipFill>
        <p:spPr bwMode="auto">
          <a:xfrm>
            <a:off x="3235325" y="4186238"/>
            <a:ext cx="1141413" cy="121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Marcador de número de diapositiva 9">
            <a:extLst>
              <a:ext uri="{FF2B5EF4-FFF2-40B4-BE49-F238E27FC236}">
                <a16:creationId xmlns:a16="http://schemas.microsoft.com/office/drawing/2014/main" id="{70E45257-31DC-24BF-E0DC-C23324FCC628}"/>
              </a:ext>
            </a:extLst>
          </p:cNvPr>
          <p:cNvSpPr>
            <a:spLocks noGrp="1"/>
          </p:cNvSpPr>
          <p:nvPr>
            <p:ph type="sldNum" sz="quarter" idx="4294967295"/>
          </p:nvPr>
        </p:nvSpPr>
        <p:spPr>
          <a:xfrm>
            <a:off x="0" y="5929313"/>
            <a:ext cx="571500" cy="590550"/>
          </a:xfrm>
          <a:prstGeom prst="rect">
            <a:avLst/>
          </a:prstGeom>
        </p:spPr>
        <p:txBody>
          <a:bodyPr/>
          <a:lstStyle/>
          <a:p>
            <a:pPr eaLnBrk="1" fontAlgn="auto" hangingPunct="1">
              <a:spcBef>
                <a:spcPts val="0"/>
              </a:spcBef>
              <a:spcAft>
                <a:spcPts val="0"/>
              </a:spcAft>
              <a:defRPr/>
            </a:pPr>
            <a:fld id="{1FE03AE6-A95A-EF40-8C3B-3F61FA9E03CA}" type="slidenum">
              <a:rPr lang="en-US">
                <a:solidFill>
                  <a:srgbClr val="FFFFFF"/>
                </a:solidFill>
                <a:latin typeface="Segoe UI"/>
                <a:ea typeface="+mn-ea"/>
              </a:rPr>
              <a:pPr eaLnBrk="1" fontAlgn="auto" hangingPunct="1">
                <a:spcBef>
                  <a:spcPts val="0"/>
                </a:spcBef>
                <a:spcAft>
                  <a:spcPts val="0"/>
                </a:spcAft>
                <a:defRPr/>
              </a:pPr>
              <a:t>22</a:t>
            </a:fld>
            <a:endParaRPr lang="en-US" dirty="0">
              <a:solidFill>
                <a:srgbClr val="FFFFFF"/>
              </a:solidFill>
              <a:latin typeface="Segoe UI"/>
              <a:ea typeface="+mn-ea"/>
            </a:endParaRPr>
          </a:p>
        </p:txBody>
      </p:sp>
    </p:spTree>
    <p:custDataLst>
      <p:tags r:id="rId1"/>
    </p:custData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FFE06-6472-558B-DC55-6A87A0334F21}"/>
              </a:ext>
            </a:extLst>
          </p:cNvPr>
          <p:cNvSpPr>
            <a:spLocks noGrp="1"/>
          </p:cNvSpPr>
          <p:nvPr>
            <p:ph type="title"/>
          </p:nvPr>
        </p:nvSpPr>
        <p:spPr>
          <a:xfrm>
            <a:off x="1981200" y="-228600"/>
            <a:ext cx="8229600" cy="1143000"/>
          </a:xfrm>
        </p:spPr>
        <p:txBody>
          <a:bodyPr>
            <a:normAutofit/>
          </a:bodyPr>
          <a:lstStyle/>
          <a:p>
            <a:r>
              <a:rPr lang="en-US" sz="3600" dirty="0"/>
              <a:t>Standards Produced by Nonprofits</a:t>
            </a:r>
          </a:p>
        </p:txBody>
      </p:sp>
      <p:graphicFrame>
        <p:nvGraphicFramePr>
          <p:cNvPr id="4" name="Table 4">
            <a:extLst>
              <a:ext uri="{FF2B5EF4-FFF2-40B4-BE49-F238E27FC236}">
                <a16:creationId xmlns:a16="http://schemas.microsoft.com/office/drawing/2014/main" id="{A2D38375-E90B-D1F4-D179-7094D1D775EF}"/>
              </a:ext>
            </a:extLst>
          </p:cNvPr>
          <p:cNvGraphicFramePr>
            <a:graphicFrameLocks noGrp="1"/>
          </p:cNvGraphicFramePr>
          <p:nvPr>
            <p:ph idx="1"/>
          </p:nvPr>
        </p:nvGraphicFramePr>
        <p:xfrm>
          <a:off x="1702076" y="685801"/>
          <a:ext cx="8787848" cy="6410343"/>
        </p:xfrm>
        <a:graphic>
          <a:graphicData uri="http://schemas.openxmlformats.org/drawingml/2006/table">
            <a:tbl>
              <a:tblPr firstRow="1" bandRow="1">
                <a:tableStyleId>{5C22544A-7EE6-4342-B048-85BDC9FD1C3A}</a:tableStyleId>
              </a:tblPr>
              <a:tblGrid>
                <a:gridCol w="1117324">
                  <a:extLst>
                    <a:ext uri="{9D8B030D-6E8A-4147-A177-3AD203B41FA5}">
                      <a16:colId xmlns:a16="http://schemas.microsoft.com/office/drawing/2014/main" val="3080083105"/>
                    </a:ext>
                  </a:extLst>
                </a:gridCol>
                <a:gridCol w="3352800">
                  <a:extLst>
                    <a:ext uri="{9D8B030D-6E8A-4147-A177-3AD203B41FA5}">
                      <a16:colId xmlns:a16="http://schemas.microsoft.com/office/drawing/2014/main" val="625555638"/>
                    </a:ext>
                  </a:extLst>
                </a:gridCol>
                <a:gridCol w="2133600">
                  <a:extLst>
                    <a:ext uri="{9D8B030D-6E8A-4147-A177-3AD203B41FA5}">
                      <a16:colId xmlns:a16="http://schemas.microsoft.com/office/drawing/2014/main" val="1132914165"/>
                    </a:ext>
                  </a:extLst>
                </a:gridCol>
                <a:gridCol w="2184124">
                  <a:extLst>
                    <a:ext uri="{9D8B030D-6E8A-4147-A177-3AD203B41FA5}">
                      <a16:colId xmlns:a16="http://schemas.microsoft.com/office/drawing/2014/main" val="127098393"/>
                    </a:ext>
                  </a:extLst>
                </a:gridCol>
              </a:tblGrid>
              <a:tr h="432402">
                <a:tc>
                  <a:txBody>
                    <a:bodyPr/>
                    <a:lstStyle/>
                    <a:p>
                      <a:endParaRPr lang="en-US"/>
                    </a:p>
                  </a:txBody>
                  <a:tcPr/>
                </a:tc>
                <a:tc>
                  <a:txBody>
                    <a:bodyPr/>
                    <a:lstStyle/>
                    <a:p>
                      <a:r>
                        <a:rPr lang="en-US" dirty="0"/>
                        <a:t>Clinical</a:t>
                      </a:r>
                    </a:p>
                  </a:txBody>
                  <a:tcPr/>
                </a:tc>
                <a:tc>
                  <a:txBody>
                    <a:bodyPr/>
                    <a:lstStyle/>
                    <a:p>
                      <a:r>
                        <a:rPr lang="en-US" dirty="0"/>
                        <a:t>Organizational</a:t>
                      </a:r>
                    </a:p>
                  </a:txBody>
                  <a:tcPr/>
                </a:tc>
                <a:tc>
                  <a:txBody>
                    <a:bodyPr/>
                    <a:lstStyle/>
                    <a:p>
                      <a:r>
                        <a:rPr lang="en-US" dirty="0"/>
                        <a:t>Accreditation</a:t>
                      </a:r>
                    </a:p>
                  </a:txBody>
                  <a:tcPr/>
                </a:tc>
                <a:extLst>
                  <a:ext uri="{0D108BD9-81ED-4DB2-BD59-A6C34878D82A}">
                    <a16:rowId xmlns:a16="http://schemas.microsoft.com/office/drawing/2014/main" val="2288007214"/>
                  </a:ext>
                </a:extLst>
              </a:tr>
              <a:tr h="1314501">
                <a:tc>
                  <a:txBody>
                    <a:bodyPr/>
                    <a:lstStyle/>
                    <a:p>
                      <a:r>
                        <a:rPr lang="en-US" sz="1600" dirty="0"/>
                        <a:t>Document</a:t>
                      </a:r>
                    </a:p>
                  </a:txBody>
                  <a:tcPr/>
                </a:tc>
                <a:tc>
                  <a:txBody>
                    <a:bodyPr/>
                    <a:lstStyle/>
                    <a:p>
                      <a:r>
                        <a:rPr lang="en-US" sz="1400" dirty="0">
                          <a:latin typeface="Avenir Book" panose="02000503020000020003" pitchFamily="2" charset="0"/>
                          <a:hlinkClick r:id="" action="ppaction://hlinkshowjump?jump=nextslide"/>
                        </a:rPr>
                        <a:t>Applied Behavior Analysis Treatment of Autism Spectrum Disorder: Practice Guidelines for Healthcare Funders and Managers (2d ed. CASP)</a:t>
                      </a:r>
                      <a:endParaRPr lang="en-US" sz="1400" dirty="0">
                        <a:latin typeface="Avenir Book" panose="02000503020000020003" pitchFamily="2" charset="0"/>
                      </a:endParaRPr>
                    </a:p>
                  </a:txBody>
                  <a:tcPr/>
                </a:tc>
                <a:tc>
                  <a:txBody>
                    <a:bodyPr/>
                    <a:lstStyle/>
                    <a:p>
                      <a:r>
                        <a:rPr lang="en-US" sz="1400" dirty="0">
                          <a:latin typeface="Avenir Book" panose="02000503020000020003" pitchFamily="2" charset="0"/>
                        </a:rPr>
                        <a:t>CASP Organizational Guidelines</a:t>
                      </a:r>
                    </a:p>
                  </a:txBody>
                  <a:tcPr/>
                </a:tc>
                <a:tc>
                  <a:txBody>
                    <a:bodyPr/>
                    <a:lstStyle/>
                    <a:p>
                      <a:r>
                        <a:rPr lang="en-US" sz="1400" dirty="0">
                          <a:latin typeface="Avenir Book" panose="02000503020000020003" pitchFamily="2" charset="0"/>
                        </a:rPr>
                        <a:t>Autism Commission on Quality (ACQ) Applied Behavior Analysis Standards</a:t>
                      </a:r>
                    </a:p>
                    <a:p>
                      <a:endParaRPr lang="en-US" sz="1400" dirty="0">
                        <a:latin typeface="Avenir Book" panose="02000503020000020003" pitchFamily="2" charset="0"/>
                      </a:endParaRPr>
                    </a:p>
                  </a:txBody>
                  <a:tcPr/>
                </a:tc>
                <a:extLst>
                  <a:ext uri="{0D108BD9-81ED-4DB2-BD59-A6C34878D82A}">
                    <a16:rowId xmlns:a16="http://schemas.microsoft.com/office/drawing/2014/main" val="152545951"/>
                  </a:ext>
                </a:extLst>
              </a:tr>
              <a:tr h="1942781">
                <a:tc>
                  <a:txBody>
                    <a:bodyPr/>
                    <a:lstStyle/>
                    <a:p>
                      <a:r>
                        <a:rPr lang="en-US" sz="1600" dirty="0"/>
                        <a:t>What/Why</a:t>
                      </a:r>
                    </a:p>
                  </a:txBody>
                  <a:tcPr/>
                </a:tc>
                <a:tc>
                  <a:txBody>
                    <a:bodyPr/>
                    <a:lstStyle/>
                    <a:p>
                      <a:r>
                        <a:rPr lang="en-US" sz="1400" b="0" i="0" u="none" strike="noStrike" kern="1200" dirty="0">
                          <a:solidFill>
                            <a:schemeClr val="dk1"/>
                          </a:solidFill>
                          <a:effectLst/>
                          <a:latin typeface="Avenir Book" panose="02000503020000020003" pitchFamily="2" charset="0"/>
                          <a:ea typeface="+mn-ea"/>
                          <a:cs typeface="+mn-cs"/>
                        </a:rPr>
                        <a:t>Agreed-upon standards for treatment among clinicians that are maintained and updated by non-profit associations</a:t>
                      </a:r>
                      <a:endParaRPr lang="en-US" sz="1400" dirty="0">
                        <a:latin typeface="Avenir Book" panose="02000503020000020003" pitchFamily="2" charset="0"/>
                      </a:endParaRPr>
                    </a:p>
                  </a:txBody>
                  <a:tcPr/>
                </a:tc>
                <a:tc>
                  <a:txBody>
                    <a:bodyPr/>
                    <a:lstStyle/>
                    <a:p>
                      <a:pPr marL="0" indent="0">
                        <a:buFontTx/>
                        <a:buNone/>
                      </a:pPr>
                      <a:r>
                        <a:rPr lang="en-US" altLang="en-US" sz="1400" dirty="0">
                          <a:latin typeface="Avenir Book" panose="02000503020000020003" pitchFamily="2" charset="0"/>
                        </a:rPr>
                        <a:t>-Develop &amp; promote best practices for </a:t>
                      </a:r>
                      <a:r>
                        <a:rPr lang="en-US" altLang="en-US" sz="1400" i="1" dirty="0">
                          <a:latin typeface="Avenir Book" panose="02000503020000020003" pitchFamily="2" charset="0"/>
                        </a:rPr>
                        <a:t>organizations</a:t>
                      </a:r>
                    </a:p>
                    <a:p>
                      <a:pPr marL="0" indent="0">
                        <a:buFontTx/>
                        <a:buNone/>
                      </a:pPr>
                      <a:r>
                        <a:rPr lang="en-US" altLang="en-US" sz="1400" dirty="0">
                          <a:latin typeface="Avenir Book" panose="02000503020000020003" pitchFamily="2" charset="0"/>
                        </a:rPr>
                        <a:t>-Assist organizations in identifying infrastructure to support sustainable, high-quality therapy</a:t>
                      </a:r>
                    </a:p>
                    <a:p>
                      <a:pPr marL="0" indent="0">
                        <a:buFontTx/>
                        <a:buNone/>
                      </a:pPr>
                      <a:r>
                        <a:rPr lang="en-US" altLang="en-US" sz="1400" dirty="0">
                          <a:latin typeface="Avenir Book" panose="02000503020000020003" pitchFamily="2" charset="0"/>
                        </a:rPr>
                        <a:t>-Develop benchmarks for industry</a:t>
                      </a:r>
                    </a:p>
                  </a:txBody>
                  <a:tcPr/>
                </a:tc>
                <a:tc>
                  <a:txBody>
                    <a:bodyPr/>
                    <a:lstStyle/>
                    <a:p>
                      <a:r>
                        <a:rPr lang="en-US" sz="1400" dirty="0">
                          <a:latin typeface="Avenir Book" panose="02000503020000020003" pitchFamily="2" charset="0"/>
                        </a:rPr>
                        <a:t>Articulate the standards by which organizations seeking accreditation will be measured</a:t>
                      </a:r>
                    </a:p>
                  </a:txBody>
                  <a:tcPr/>
                </a:tc>
                <a:extLst>
                  <a:ext uri="{0D108BD9-81ED-4DB2-BD59-A6C34878D82A}">
                    <a16:rowId xmlns:a16="http://schemas.microsoft.com/office/drawing/2014/main" val="2390470556"/>
                  </a:ext>
                </a:extLst>
              </a:tr>
              <a:tr h="2406316">
                <a:tc>
                  <a:txBody>
                    <a:bodyPr/>
                    <a:lstStyle/>
                    <a:p>
                      <a:r>
                        <a:rPr lang="en-US" sz="1600" dirty="0"/>
                        <a:t>Other Relevant Resources</a:t>
                      </a:r>
                    </a:p>
                  </a:txBody>
                  <a:tcPr/>
                </a:tc>
                <a:tc>
                  <a:txBody>
                    <a:bodyPr/>
                    <a:lstStyle/>
                    <a:p>
                      <a:r>
                        <a:rPr lang="en-US" sz="1200" b="0" kern="1200" dirty="0">
                          <a:solidFill>
                            <a:schemeClr val="dk1"/>
                          </a:solidFill>
                          <a:effectLst/>
                          <a:latin typeface="Avenir Book" panose="02000503020000020003" pitchFamily="2" charset="0"/>
                          <a:ea typeface="+mn-ea"/>
                          <a:cs typeface="+mn-cs"/>
                        </a:rPr>
                        <a:t>Clarifications Regarding</a:t>
                      </a:r>
                      <a:r>
                        <a:rPr lang="en-US" sz="1200" b="0" i="0" kern="1200" dirty="0">
                          <a:solidFill>
                            <a:schemeClr val="dk1"/>
                          </a:solidFill>
                          <a:effectLst/>
                          <a:latin typeface="Avenir Book" panose="02000503020000020003" pitchFamily="2" charset="0"/>
                          <a:ea typeface="+mn-ea"/>
                          <a:cs typeface="+mn-cs"/>
                        </a:rPr>
                        <a:t> </a:t>
                      </a:r>
                      <a:r>
                        <a:rPr lang="en-US" sz="1200" b="0" i="1" kern="1200" dirty="0">
                          <a:solidFill>
                            <a:schemeClr val="dk1"/>
                          </a:solidFill>
                          <a:effectLst/>
                          <a:latin typeface="Avenir Book" panose="02000503020000020003" pitchFamily="2" charset="0"/>
                          <a:ea typeface="+mn-ea"/>
                          <a:cs typeface="+mn-cs"/>
                        </a:rPr>
                        <a:t>Applied Behavior Analysis Treatment of Autism Spectrum Disorder: Practice Guidelines for Healthcare Funders and Managers (2nd ed.) – </a:t>
                      </a:r>
                      <a:r>
                        <a:rPr lang="en-US" sz="1200" b="0" i="0" kern="1200" dirty="0">
                          <a:solidFill>
                            <a:schemeClr val="dk1"/>
                          </a:solidFill>
                          <a:effectLst/>
                          <a:latin typeface="Avenir Book" panose="02000503020000020003" pitchFamily="2" charset="0"/>
                          <a:ea typeface="+mn-ea"/>
                          <a:cs typeface="+mn-cs"/>
                        </a:rPr>
                        <a:t>APBA &amp; BACB</a:t>
                      </a:r>
                      <a:r>
                        <a:rPr lang="en-US" sz="1200" b="0" i="1" kern="1200" dirty="0">
                          <a:solidFill>
                            <a:schemeClr val="dk1"/>
                          </a:solidFill>
                          <a:effectLst/>
                          <a:latin typeface="Avenir Book" panose="02000503020000020003" pitchFamily="2" charset="0"/>
                          <a:ea typeface="+mn-ea"/>
                          <a:cs typeface="+mn-cs"/>
                        </a:rPr>
                        <a:t> </a:t>
                      </a:r>
                      <a:endParaRPr lang="en-US" sz="1200" dirty="0">
                        <a:effectLst/>
                        <a:latin typeface="Avenir Book" panose="02000503020000020003" pitchFamily="2" charset="0"/>
                      </a:endParaRPr>
                    </a:p>
                    <a:p>
                      <a:endParaRPr lang="en-US" sz="1200" dirty="0">
                        <a:latin typeface="Avenir Book" panose="02000503020000020003" pitchFamily="2" charset="0"/>
                      </a:endParaRPr>
                    </a:p>
                    <a:p>
                      <a:r>
                        <a:rPr lang="en-US" sz="1200" dirty="0">
                          <a:latin typeface="Avenir Book" panose="02000503020000020003" pitchFamily="2" charset="0"/>
                        </a:rPr>
                        <a:t>Model Coverage Policy (ABA Coding Coalition)</a:t>
                      </a:r>
                    </a:p>
                    <a:p>
                      <a:endParaRPr lang="en-US" sz="1200" dirty="0">
                        <a:latin typeface="Avenir Book" panose="02000503020000020003" pitchFamily="2" charset="0"/>
                      </a:endParaRPr>
                    </a:p>
                    <a:p>
                      <a:r>
                        <a:rPr lang="en-US" sz="1200" dirty="0">
                          <a:latin typeface="Avenir Book" panose="02000503020000020003" pitchFamily="2" charset="0"/>
                        </a:rPr>
                        <a:t>CPT Assistant (AMA)</a:t>
                      </a:r>
                    </a:p>
                    <a:p>
                      <a:endParaRPr lang="en-US" sz="1200" dirty="0">
                        <a:latin typeface="Avenir Book" panose="02000503020000020003" pitchFamily="2" charset="0"/>
                      </a:endParaRPr>
                    </a:p>
                    <a:p>
                      <a:r>
                        <a:rPr lang="en-US" sz="1200" dirty="0">
                          <a:latin typeface="Avenir Book" panose="02000503020000020003" pitchFamily="2" charset="0"/>
                        </a:rPr>
                        <a:t>Practice Parameters for Telehealth-Implementation of ABA (2d ed. 2022 CASP)</a:t>
                      </a:r>
                    </a:p>
                    <a:p>
                      <a:endParaRPr lang="en-US" sz="1200" dirty="0">
                        <a:latin typeface="Avenir Book" panose="02000503020000020003" pitchFamily="2" charset="0"/>
                      </a:endParaRPr>
                    </a:p>
                  </a:txBody>
                  <a:tcPr/>
                </a:tc>
                <a:tc>
                  <a:txBody>
                    <a:bodyPr/>
                    <a:lstStyle/>
                    <a:p>
                      <a:endParaRPr lang="en-US" sz="1400" dirty="0">
                        <a:latin typeface="Avenir Book" panose="02000503020000020003" pitchFamily="2" charset="0"/>
                      </a:endParaRPr>
                    </a:p>
                  </a:txBody>
                  <a:tcPr/>
                </a:tc>
                <a:tc>
                  <a:txBody>
                    <a:bodyPr/>
                    <a:lstStyle/>
                    <a:p>
                      <a:endParaRPr lang="en-US" sz="1400" dirty="0">
                        <a:latin typeface="Avenir Book" panose="02000503020000020003" pitchFamily="2" charset="0"/>
                      </a:endParaRPr>
                    </a:p>
                  </a:txBody>
                  <a:tcPr/>
                </a:tc>
                <a:extLst>
                  <a:ext uri="{0D108BD9-81ED-4DB2-BD59-A6C34878D82A}">
                    <a16:rowId xmlns:a16="http://schemas.microsoft.com/office/drawing/2014/main" val="1649483646"/>
                  </a:ext>
                </a:extLst>
              </a:tr>
            </a:tbl>
          </a:graphicData>
        </a:graphic>
      </p:graphicFrame>
    </p:spTree>
    <p:extLst>
      <p:ext uri="{BB962C8B-B14F-4D97-AF65-F5344CB8AC3E}">
        <p14:creationId xmlns:p14="http://schemas.microsoft.com/office/powerpoint/2010/main" val="37227750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8000"/>
                <a:hueMod val="124000"/>
                <a:satMod val="148000"/>
                <a:lumMod val="124000"/>
              </a:schemeClr>
            </a:gs>
            <a:gs pos="100000">
              <a:schemeClr val="bg1">
                <a:shade val="76000"/>
                <a:hueMod val="89000"/>
                <a:satMod val="164000"/>
                <a:lumMod val="56000"/>
              </a:schemeClr>
            </a:gs>
          </a:gsLst>
          <a:path path="circle">
            <a:fillToRect l="45000" t="65000" r="125000" b="100000"/>
          </a:path>
        </a:gradFill>
        <a:effectLst/>
      </p:bgPr>
    </p:bg>
    <p:spTree>
      <p:nvGrpSpPr>
        <p:cNvPr id="1" name=""/>
        <p:cNvGrpSpPr/>
        <p:nvPr/>
      </p:nvGrpSpPr>
      <p:grpSpPr>
        <a:xfrm>
          <a:off x="0" y="0"/>
          <a:ext cx="0" cy="0"/>
          <a:chOff x="0" y="0"/>
          <a:chExt cx="0" cy="0"/>
        </a:xfrm>
      </p:grpSpPr>
      <p:sp useBgFill="1">
        <p:nvSpPr>
          <p:cNvPr id="261126" name="Rectangle 261125">
            <a:extLst>
              <a:ext uri="{FF2B5EF4-FFF2-40B4-BE49-F238E27FC236}">
                <a16:creationId xmlns:a16="http://schemas.microsoft.com/office/drawing/2014/main" id="{786DE8A2-E45F-4163-B246-A5162E17BE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4E71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128" name="Rectangle 261127">
            <a:extLst>
              <a:ext uri="{FF2B5EF4-FFF2-40B4-BE49-F238E27FC236}">
                <a16:creationId xmlns:a16="http://schemas.microsoft.com/office/drawing/2014/main" id="{CC88A9C7-37B3-4341-BF1A-E8F3049ECB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6" y="643468"/>
            <a:ext cx="10905067" cy="557106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1121" name="Picture 3">
            <a:extLst>
              <a:ext uri="{FF2B5EF4-FFF2-40B4-BE49-F238E27FC236}">
                <a16:creationId xmlns:a16="http://schemas.microsoft.com/office/drawing/2014/main" id="{882BEE00-1913-B747-B3BB-6D36BA4DDDD8}"/>
              </a:ext>
            </a:extLst>
          </p:cNvPr>
          <p:cNvPicPr>
            <a:picLocks noChangeAspect="1" noChangeArrowheads="1"/>
          </p:cNvPicPr>
          <p:nvPr/>
        </p:nvPicPr>
        <p:blipFill>
          <a:blip r:embed="rId3">
            <a:extLst>
              <a:ext uri="{28A0092B-C50C-407E-A947-70E740481C1C}">
                <a14:useLocalDpi xmlns:a14="http://schemas.microsoft.com/office/drawing/2010/main" val="0"/>
              </a:ext>
            </a:extLst>
          </a:blip>
          <a:stretch/>
        </p:blipFill>
        <p:spPr bwMode="auto">
          <a:xfrm>
            <a:off x="4305881" y="1123527"/>
            <a:ext cx="3580232" cy="46048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78002234"/>
      </p:ext>
    </p:extLst>
  </p:cSld>
  <p:clrMapOvr>
    <a:overrideClrMapping bg1="dk1" tx1="lt1" bg2="dk2" tx2="lt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FFE06-6472-558B-DC55-6A87A0334F21}"/>
              </a:ext>
            </a:extLst>
          </p:cNvPr>
          <p:cNvSpPr>
            <a:spLocks noGrp="1"/>
          </p:cNvSpPr>
          <p:nvPr>
            <p:ph type="title"/>
          </p:nvPr>
        </p:nvSpPr>
        <p:spPr>
          <a:xfrm>
            <a:off x="1981200" y="-228600"/>
            <a:ext cx="8229600" cy="1143000"/>
          </a:xfrm>
        </p:spPr>
        <p:txBody>
          <a:bodyPr>
            <a:normAutofit/>
          </a:bodyPr>
          <a:lstStyle/>
          <a:p>
            <a:r>
              <a:rPr lang="en-US" sz="3600" dirty="0"/>
              <a:t>Standards Produced by Nonprofits</a:t>
            </a:r>
          </a:p>
        </p:txBody>
      </p:sp>
      <p:graphicFrame>
        <p:nvGraphicFramePr>
          <p:cNvPr id="4" name="Table 4">
            <a:extLst>
              <a:ext uri="{FF2B5EF4-FFF2-40B4-BE49-F238E27FC236}">
                <a16:creationId xmlns:a16="http://schemas.microsoft.com/office/drawing/2014/main" id="{A2D38375-E90B-D1F4-D179-7094D1D775EF}"/>
              </a:ext>
            </a:extLst>
          </p:cNvPr>
          <p:cNvGraphicFramePr>
            <a:graphicFrameLocks noGrp="1"/>
          </p:cNvGraphicFramePr>
          <p:nvPr>
            <p:ph idx="1"/>
          </p:nvPr>
        </p:nvGraphicFramePr>
        <p:xfrm>
          <a:off x="1702076" y="685801"/>
          <a:ext cx="8787848" cy="6410343"/>
        </p:xfrm>
        <a:graphic>
          <a:graphicData uri="http://schemas.openxmlformats.org/drawingml/2006/table">
            <a:tbl>
              <a:tblPr firstRow="1" bandRow="1">
                <a:tableStyleId>{5C22544A-7EE6-4342-B048-85BDC9FD1C3A}</a:tableStyleId>
              </a:tblPr>
              <a:tblGrid>
                <a:gridCol w="1117324">
                  <a:extLst>
                    <a:ext uri="{9D8B030D-6E8A-4147-A177-3AD203B41FA5}">
                      <a16:colId xmlns:a16="http://schemas.microsoft.com/office/drawing/2014/main" val="3080083105"/>
                    </a:ext>
                  </a:extLst>
                </a:gridCol>
                <a:gridCol w="3352800">
                  <a:extLst>
                    <a:ext uri="{9D8B030D-6E8A-4147-A177-3AD203B41FA5}">
                      <a16:colId xmlns:a16="http://schemas.microsoft.com/office/drawing/2014/main" val="625555638"/>
                    </a:ext>
                  </a:extLst>
                </a:gridCol>
                <a:gridCol w="2133600">
                  <a:extLst>
                    <a:ext uri="{9D8B030D-6E8A-4147-A177-3AD203B41FA5}">
                      <a16:colId xmlns:a16="http://schemas.microsoft.com/office/drawing/2014/main" val="1132914165"/>
                    </a:ext>
                  </a:extLst>
                </a:gridCol>
                <a:gridCol w="2184124">
                  <a:extLst>
                    <a:ext uri="{9D8B030D-6E8A-4147-A177-3AD203B41FA5}">
                      <a16:colId xmlns:a16="http://schemas.microsoft.com/office/drawing/2014/main" val="127098393"/>
                    </a:ext>
                  </a:extLst>
                </a:gridCol>
              </a:tblGrid>
              <a:tr h="432402">
                <a:tc>
                  <a:txBody>
                    <a:bodyPr/>
                    <a:lstStyle/>
                    <a:p>
                      <a:endParaRPr lang="en-US"/>
                    </a:p>
                  </a:txBody>
                  <a:tcPr/>
                </a:tc>
                <a:tc>
                  <a:txBody>
                    <a:bodyPr/>
                    <a:lstStyle/>
                    <a:p>
                      <a:r>
                        <a:rPr lang="en-US" dirty="0"/>
                        <a:t>Clinical</a:t>
                      </a:r>
                    </a:p>
                  </a:txBody>
                  <a:tcPr/>
                </a:tc>
                <a:tc>
                  <a:txBody>
                    <a:bodyPr/>
                    <a:lstStyle/>
                    <a:p>
                      <a:r>
                        <a:rPr lang="en-US" dirty="0"/>
                        <a:t>Organizational</a:t>
                      </a:r>
                    </a:p>
                  </a:txBody>
                  <a:tcPr/>
                </a:tc>
                <a:tc>
                  <a:txBody>
                    <a:bodyPr/>
                    <a:lstStyle/>
                    <a:p>
                      <a:r>
                        <a:rPr lang="en-US" dirty="0"/>
                        <a:t>Accreditation</a:t>
                      </a:r>
                    </a:p>
                  </a:txBody>
                  <a:tcPr/>
                </a:tc>
                <a:extLst>
                  <a:ext uri="{0D108BD9-81ED-4DB2-BD59-A6C34878D82A}">
                    <a16:rowId xmlns:a16="http://schemas.microsoft.com/office/drawing/2014/main" val="2288007214"/>
                  </a:ext>
                </a:extLst>
              </a:tr>
              <a:tr h="1314501">
                <a:tc>
                  <a:txBody>
                    <a:bodyPr/>
                    <a:lstStyle/>
                    <a:p>
                      <a:r>
                        <a:rPr lang="en-US" sz="1600" dirty="0"/>
                        <a:t>Document</a:t>
                      </a:r>
                    </a:p>
                  </a:txBody>
                  <a:tcPr/>
                </a:tc>
                <a:tc>
                  <a:txBody>
                    <a:bodyPr/>
                    <a:lstStyle/>
                    <a:p>
                      <a:r>
                        <a:rPr lang="en-US" sz="1400" dirty="0">
                          <a:latin typeface="Avenir Book" panose="02000503020000020003" pitchFamily="2" charset="0"/>
                          <a:hlinkClick r:id="" action="ppaction://hlinkshowjump?jump=nextslide"/>
                        </a:rPr>
                        <a:t>Applied Behavior Analysis Treatment of Autism Spectrum Disorder: Practice Guidelines for Healthcare Funders and Managers (2d ed. CASP)</a:t>
                      </a:r>
                      <a:endParaRPr lang="en-US" sz="1400" dirty="0">
                        <a:latin typeface="Avenir Book" panose="02000503020000020003" pitchFamily="2" charset="0"/>
                      </a:endParaRPr>
                    </a:p>
                  </a:txBody>
                  <a:tcPr/>
                </a:tc>
                <a:tc>
                  <a:txBody>
                    <a:bodyPr/>
                    <a:lstStyle/>
                    <a:p>
                      <a:r>
                        <a:rPr lang="en-US" sz="1400" dirty="0">
                          <a:latin typeface="Avenir Book" panose="02000503020000020003" pitchFamily="2" charset="0"/>
                        </a:rPr>
                        <a:t>CASP Organizational Guidelines</a:t>
                      </a:r>
                    </a:p>
                  </a:txBody>
                  <a:tcPr/>
                </a:tc>
                <a:tc>
                  <a:txBody>
                    <a:bodyPr/>
                    <a:lstStyle/>
                    <a:p>
                      <a:r>
                        <a:rPr lang="en-US" sz="1400" dirty="0">
                          <a:latin typeface="Avenir Book" panose="02000503020000020003" pitchFamily="2" charset="0"/>
                        </a:rPr>
                        <a:t>Autism Commission on Quality (ACQ) Applied Behavior Analysis Standards</a:t>
                      </a:r>
                    </a:p>
                    <a:p>
                      <a:endParaRPr lang="en-US" sz="1400" dirty="0">
                        <a:latin typeface="Avenir Book" panose="02000503020000020003" pitchFamily="2" charset="0"/>
                      </a:endParaRPr>
                    </a:p>
                  </a:txBody>
                  <a:tcPr/>
                </a:tc>
                <a:extLst>
                  <a:ext uri="{0D108BD9-81ED-4DB2-BD59-A6C34878D82A}">
                    <a16:rowId xmlns:a16="http://schemas.microsoft.com/office/drawing/2014/main" val="152545951"/>
                  </a:ext>
                </a:extLst>
              </a:tr>
              <a:tr h="1942781">
                <a:tc>
                  <a:txBody>
                    <a:bodyPr/>
                    <a:lstStyle/>
                    <a:p>
                      <a:r>
                        <a:rPr lang="en-US" sz="1600" dirty="0"/>
                        <a:t>What/Why</a:t>
                      </a:r>
                    </a:p>
                  </a:txBody>
                  <a:tcPr/>
                </a:tc>
                <a:tc>
                  <a:txBody>
                    <a:bodyPr/>
                    <a:lstStyle/>
                    <a:p>
                      <a:r>
                        <a:rPr lang="en-US" sz="1400" b="0" i="0" u="none" strike="noStrike" kern="1200" dirty="0">
                          <a:solidFill>
                            <a:schemeClr val="dk1"/>
                          </a:solidFill>
                          <a:effectLst/>
                          <a:latin typeface="Avenir Book" panose="02000503020000020003" pitchFamily="2" charset="0"/>
                          <a:ea typeface="+mn-ea"/>
                          <a:cs typeface="+mn-cs"/>
                        </a:rPr>
                        <a:t>Agreed-upon standards for treatment among clinicians that are maintained and updated by non-profit associations</a:t>
                      </a:r>
                      <a:endParaRPr lang="en-US" sz="1400" dirty="0">
                        <a:latin typeface="Avenir Book" panose="02000503020000020003" pitchFamily="2" charset="0"/>
                      </a:endParaRPr>
                    </a:p>
                  </a:txBody>
                  <a:tcPr/>
                </a:tc>
                <a:tc>
                  <a:txBody>
                    <a:bodyPr/>
                    <a:lstStyle/>
                    <a:p>
                      <a:pPr marL="0" indent="0">
                        <a:buFontTx/>
                        <a:buNone/>
                      </a:pPr>
                      <a:r>
                        <a:rPr lang="en-US" altLang="en-US" sz="1400" dirty="0">
                          <a:latin typeface="Avenir Book" panose="02000503020000020003" pitchFamily="2" charset="0"/>
                        </a:rPr>
                        <a:t>-Develop &amp; promote best practices for </a:t>
                      </a:r>
                      <a:r>
                        <a:rPr lang="en-US" altLang="en-US" sz="1400" i="1" dirty="0">
                          <a:latin typeface="Avenir Book" panose="02000503020000020003" pitchFamily="2" charset="0"/>
                        </a:rPr>
                        <a:t>organizations</a:t>
                      </a:r>
                    </a:p>
                    <a:p>
                      <a:pPr marL="0" indent="0">
                        <a:buFontTx/>
                        <a:buNone/>
                      </a:pPr>
                      <a:r>
                        <a:rPr lang="en-US" altLang="en-US" sz="1400" dirty="0">
                          <a:latin typeface="Avenir Book" panose="02000503020000020003" pitchFamily="2" charset="0"/>
                        </a:rPr>
                        <a:t>-Assist organizations in identifying infrastructure to support sustainable, high-quality therapy</a:t>
                      </a:r>
                    </a:p>
                    <a:p>
                      <a:pPr marL="0" indent="0">
                        <a:buFontTx/>
                        <a:buNone/>
                      </a:pPr>
                      <a:r>
                        <a:rPr lang="en-US" altLang="en-US" sz="1400" dirty="0">
                          <a:latin typeface="Avenir Book" panose="02000503020000020003" pitchFamily="2" charset="0"/>
                        </a:rPr>
                        <a:t>-Develop benchmarks for industry</a:t>
                      </a:r>
                    </a:p>
                  </a:txBody>
                  <a:tcPr/>
                </a:tc>
                <a:tc>
                  <a:txBody>
                    <a:bodyPr/>
                    <a:lstStyle/>
                    <a:p>
                      <a:r>
                        <a:rPr lang="en-US" sz="1400" dirty="0">
                          <a:latin typeface="Avenir Book" panose="02000503020000020003" pitchFamily="2" charset="0"/>
                        </a:rPr>
                        <a:t>Articulate the standards by which organizations seeking accreditation will be measured</a:t>
                      </a:r>
                    </a:p>
                  </a:txBody>
                  <a:tcPr/>
                </a:tc>
                <a:extLst>
                  <a:ext uri="{0D108BD9-81ED-4DB2-BD59-A6C34878D82A}">
                    <a16:rowId xmlns:a16="http://schemas.microsoft.com/office/drawing/2014/main" val="2390470556"/>
                  </a:ext>
                </a:extLst>
              </a:tr>
              <a:tr h="2406316">
                <a:tc>
                  <a:txBody>
                    <a:bodyPr/>
                    <a:lstStyle/>
                    <a:p>
                      <a:r>
                        <a:rPr lang="en-US" sz="1600" dirty="0"/>
                        <a:t>Other Relevant Resources</a:t>
                      </a:r>
                    </a:p>
                  </a:txBody>
                  <a:tcPr/>
                </a:tc>
                <a:tc>
                  <a:txBody>
                    <a:bodyPr/>
                    <a:lstStyle/>
                    <a:p>
                      <a:r>
                        <a:rPr lang="en-US" sz="1200" b="0" kern="1200" dirty="0">
                          <a:solidFill>
                            <a:schemeClr val="dk1"/>
                          </a:solidFill>
                          <a:effectLst/>
                          <a:latin typeface="Avenir Book" panose="02000503020000020003" pitchFamily="2" charset="0"/>
                          <a:ea typeface="+mn-ea"/>
                          <a:cs typeface="+mn-cs"/>
                        </a:rPr>
                        <a:t>Clarifications Regarding</a:t>
                      </a:r>
                      <a:r>
                        <a:rPr lang="en-US" sz="1200" b="0" i="0" kern="1200" dirty="0">
                          <a:solidFill>
                            <a:schemeClr val="dk1"/>
                          </a:solidFill>
                          <a:effectLst/>
                          <a:latin typeface="Avenir Book" panose="02000503020000020003" pitchFamily="2" charset="0"/>
                          <a:ea typeface="+mn-ea"/>
                          <a:cs typeface="+mn-cs"/>
                        </a:rPr>
                        <a:t> </a:t>
                      </a:r>
                      <a:r>
                        <a:rPr lang="en-US" sz="1200" b="0" i="1" kern="1200" dirty="0">
                          <a:solidFill>
                            <a:schemeClr val="dk1"/>
                          </a:solidFill>
                          <a:effectLst/>
                          <a:latin typeface="Avenir Book" panose="02000503020000020003" pitchFamily="2" charset="0"/>
                          <a:ea typeface="+mn-ea"/>
                          <a:cs typeface="+mn-cs"/>
                        </a:rPr>
                        <a:t>Applied Behavior Analysis Treatment of Autism Spectrum Disorder: Practice Guidelines for Healthcare Funders and Managers (2nd ed.) – </a:t>
                      </a:r>
                      <a:r>
                        <a:rPr lang="en-US" sz="1200" b="0" i="0" kern="1200" dirty="0">
                          <a:solidFill>
                            <a:schemeClr val="dk1"/>
                          </a:solidFill>
                          <a:effectLst/>
                          <a:latin typeface="Avenir Book" panose="02000503020000020003" pitchFamily="2" charset="0"/>
                          <a:ea typeface="+mn-ea"/>
                          <a:cs typeface="+mn-cs"/>
                        </a:rPr>
                        <a:t>APBA &amp; BACB</a:t>
                      </a:r>
                      <a:r>
                        <a:rPr lang="en-US" sz="1200" b="0" i="1" kern="1200" dirty="0">
                          <a:solidFill>
                            <a:schemeClr val="dk1"/>
                          </a:solidFill>
                          <a:effectLst/>
                          <a:latin typeface="Avenir Book" panose="02000503020000020003" pitchFamily="2" charset="0"/>
                          <a:ea typeface="+mn-ea"/>
                          <a:cs typeface="+mn-cs"/>
                        </a:rPr>
                        <a:t> </a:t>
                      </a:r>
                      <a:endParaRPr lang="en-US" sz="1200" dirty="0">
                        <a:effectLst/>
                        <a:latin typeface="Avenir Book" panose="02000503020000020003" pitchFamily="2" charset="0"/>
                      </a:endParaRPr>
                    </a:p>
                    <a:p>
                      <a:endParaRPr lang="en-US" sz="1200" dirty="0">
                        <a:latin typeface="Avenir Book" panose="02000503020000020003" pitchFamily="2" charset="0"/>
                      </a:endParaRPr>
                    </a:p>
                    <a:p>
                      <a:r>
                        <a:rPr lang="en-US" sz="1200" dirty="0">
                          <a:latin typeface="Avenir Book" panose="02000503020000020003" pitchFamily="2" charset="0"/>
                        </a:rPr>
                        <a:t>Model Coverage Policy (ABA Coding Coalition)</a:t>
                      </a:r>
                    </a:p>
                    <a:p>
                      <a:endParaRPr lang="en-US" sz="1200" dirty="0">
                        <a:latin typeface="Avenir Book" panose="02000503020000020003" pitchFamily="2" charset="0"/>
                      </a:endParaRPr>
                    </a:p>
                    <a:p>
                      <a:r>
                        <a:rPr lang="en-US" sz="1200" dirty="0">
                          <a:latin typeface="Avenir Book" panose="02000503020000020003" pitchFamily="2" charset="0"/>
                        </a:rPr>
                        <a:t>CPT Assistant (AMA)</a:t>
                      </a:r>
                    </a:p>
                    <a:p>
                      <a:endParaRPr lang="en-US" sz="1200" dirty="0">
                        <a:latin typeface="Avenir Book" panose="02000503020000020003" pitchFamily="2" charset="0"/>
                      </a:endParaRPr>
                    </a:p>
                    <a:p>
                      <a:r>
                        <a:rPr lang="en-US" sz="1200" dirty="0">
                          <a:latin typeface="Avenir Book" panose="02000503020000020003" pitchFamily="2" charset="0"/>
                        </a:rPr>
                        <a:t>Practice Parameters for Telehealth-Implementation of ABA (2d ed. 2022 CASP)</a:t>
                      </a:r>
                    </a:p>
                    <a:p>
                      <a:endParaRPr lang="en-US" sz="1200" dirty="0">
                        <a:latin typeface="Avenir Book" panose="02000503020000020003" pitchFamily="2" charset="0"/>
                      </a:endParaRPr>
                    </a:p>
                  </a:txBody>
                  <a:tcPr/>
                </a:tc>
                <a:tc>
                  <a:txBody>
                    <a:bodyPr/>
                    <a:lstStyle/>
                    <a:p>
                      <a:endParaRPr lang="en-US" sz="1400" dirty="0">
                        <a:latin typeface="Avenir Book" panose="02000503020000020003" pitchFamily="2" charset="0"/>
                      </a:endParaRPr>
                    </a:p>
                  </a:txBody>
                  <a:tcPr/>
                </a:tc>
                <a:tc>
                  <a:txBody>
                    <a:bodyPr/>
                    <a:lstStyle/>
                    <a:p>
                      <a:endParaRPr lang="en-US" sz="1400" dirty="0">
                        <a:latin typeface="Avenir Book" panose="02000503020000020003" pitchFamily="2" charset="0"/>
                      </a:endParaRPr>
                    </a:p>
                  </a:txBody>
                  <a:tcPr/>
                </a:tc>
                <a:extLst>
                  <a:ext uri="{0D108BD9-81ED-4DB2-BD59-A6C34878D82A}">
                    <a16:rowId xmlns:a16="http://schemas.microsoft.com/office/drawing/2014/main" val="1649483646"/>
                  </a:ext>
                </a:extLst>
              </a:tr>
            </a:tbl>
          </a:graphicData>
        </a:graphic>
      </p:graphicFrame>
    </p:spTree>
    <p:extLst>
      <p:ext uri="{BB962C8B-B14F-4D97-AF65-F5344CB8AC3E}">
        <p14:creationId xmlns:p14="http://schemas.microsoft.com/office/powerpoint/2010/main" val="13331634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1121" name="Picture 3">
            <a:extLst>
              <a:ext uri="{FF2B5EF4-FFF2-40B4-BE49-F238E27FC236}">
                <a16:creationId xmlns:a16="http://schemas.microsoft.com/office/drawing/2014/main" id="{882BEE00-1913-B747-B3BB-6D36BA4DDDD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2057400" y="533400"/>
            <a:ext cx="7089088" cy="5489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932908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1121" name="Picture 3">
            <a:extLst>
              <a:ext uri="{FF2B5EF4-FFF2-40B4-BE49-F238E27FC236}">
                <a16:creationId xmlns:a16="http://schemas.microsoft.com/office/drawing/2014/main" id="{882BEE00-1913-B747-B3BB-6D36BA4DDDD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4081464" y="880642"/>
            <a:ext cx="4029075" cy="5096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949342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1121" name="Picture 3">
            <a:extLst>
              <a:ext uri="{FF2B5EF4-FFF2-40B4-BE49-F238E27FC236}">
                <a16:creationId xmlns:a16="http://schemas.microsoft.com/office/drawing/2014/main" id="{882BEE00-1913-B747-B3BB-6D36BA4DDDD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4114614" y="938315"/>
            <a:ext cx="3962772" cy="4981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088960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book cover of a blue book&#10;&#10;Description automatically generated">
            <a:extLst>
              <a:ext uri="{FF2B5EF4-FFF2-40B4-BE49-F238E27FC236}">
                <a16:creationId xmlns:a16="http://schemas.microsoft.com/office/drawing/2014/main" id="{3BEFB650-8E4E-D567-8CD9-849A9A572647}"/>
              </a:ext>
            </a:extLst>
          </p:cNvPr>
          <p:cNvPicPr>
            <a:picLocks noGrp="1" noChangeAspect="1"/>
          </p:cNvPicPr>
          <p:nvPr>
            <p:ph idx="1"/>
          </p:nvPr>
        </p:nvPicPr>
        <p:blipFill>
          <a:blip r:embed="rId2"/>
          <a:stretch>
            <a:fillRect/>
          </a:stretch>
        </p:blipFill>
        <p:spPr>
          <a:xfrm>
            <a:off x="5829300" y="3652044"/>
            <a:ext cx="533400" cy="698500"/>
          </a:xfrm>
        </p:spPr>
      </p:pic>
      <p:pic>
        <p:nvPicPr>
          <p:cNvPr id="11" name="Picture 10" descr="A book cover with a photo of a baby&#10;&#10;Description automatically generated">
            <a:extLst>
              <a:ext uri="{FF2B5EF4-FFF2-40B4-BE49-F238E27FC236}">
                <a16:creationId xmlns:a16="http://schemas.microsoft.com/office/drawing/2014/main" id="{DD382CDE-6232-2908-1917-4DD62CD048B0}"/>
              </a:ext>
            </a:extLst>
          </p:cNvPr>
          <p:cNvPicPr>
            <a:picLocks noChangeAspect="1"/>
          </p:cNvPicPr>
          <p:nvPr/>
        </p:nvPicPr>
        <p:blipFill>
          <a:blip r:embed="rId3"/>
          <a:stretch>
            <a:fillRect/>
          </a:stretch>
        </p:blipFill>
        <p:spPr>
          <a:xfrm>
            <a:off x="6988486" y="1411085"/>
            <a:ext cx="2590800" cy="3136900"/>
          </a:xfrm>
          <a:prstGeom prst="rect">
            <a:avLst/>
          </a:prstGeom>
        </p:spPr>
      </p:pic>
      <p:pic>
        <p:nvPicPr>
          <p:cNvPr id="13" name="Picture 12" descr="A blue and black book cover&#10;&#10;Description automatically generated">
            <a:extLst>
              <a:ext uri="{FF2B5EF4-FFF2-40B4-BE49-F238E27FC236}">
                <a16:creationId xmlns:a16="http://schemas.microsoft.com/office/drawing/2014/main" id="{13B97570-816F-FE06-2FE3-DD1369E1C77C}"/>
              </a:ext>
            </a:extLst>
          </p:cNvPr>
          <p:cNvPicPr>
            <a:picLocks noChangeAspect="1"/>
          </p:cNvPicPr>
          <p:nvPr/>
        </p:nvPicPr>
        <p:blipFill>
          <a:blip r:embed="rId4"/>
          <a:stretch>
            <a:fillRect/>
          </a:stretch>
        </p:blipFill>
        <p:spPr>
          <a:xfrm>
            <a:off x="5781986" y="4317575"/>
            <a:ext cx="2501900" cy="3238500"/>
          </a:xfrm>
          <a:prstGeom prst="rect">
            <a:avLst/>
          </a:prstGeom>
        </p:spPr>
      </p:pic>
      <p:pic>
        <p:nvPicPr>
          <p:cNvPr id="15" name="Picture 14" descr="A red cover with white text&#10;&#10;Description automatically generated">
            <a:extLst>
              <a:ext uri="{FF2B5EF4-FFF2-40B4-BE49-F238E27FC236}">
                <a16:creationId xmlns:a16="http://schemas.microsoft.com/office/drawing/2014/main" id="{160806FA-71C3-D047-3A2C-5F5358049CAF}"/>
              </a:ext>
            </a:extLst>
          </p:cNvPr>
          <p:cNvPicPr>
            <a:picLocks noChangeAspect="1"/>
          </p:cNvPicPr>
          <p:nvPr/>
        </p:nvPicPr>
        <p:blipFill>
          <a:blip r:embed="rId5"/>
          <a:stretch>
            <a:fillRect/>
          </a:stretch>
        </p:blipFill>
        <p:spPr>
          <a:xfrm>
            <a:off x="4432622" y="1603512"/>
            <a:ext cx="4158391" cy="5715047"/>
          </a:xfrm>
          <a:prstGeom prst="rect">
            <a:avLst/>
          </a:prstGeom>
        </p:spPr>
      </p:pic>
      <p:sp>
        <p:nvSpPr>
          <p:cNvPr id="2" name="Title 1">
            <a:extLst>
              <a:ext uri="{FF2B5EF4-FFF2-40B4-BE49-F238E27FC236}">
                <a16:creationId xmlns:a16="http://schemas.microsoft.com/office/drawing/2014/main" id="{B40F4255-E3CC-DFAD-E82C-BFB38A93C47B}"/>
              </a:ext>
            </a:extLst>
          </p:cNvPr>
          <p:cNvSpPr>
            <a:spLocks noGrp="1"/>
          </p:cNvSpPr>
          <p:nvPr>
            <p:ph type="title"/>
          </p:nvPr>
        </p:nvSpPr>
        <p:spPr>
          <a:xfrm>
            <a:off x="737301" y="2409750"/>
            <a:ext cx="2891660" cy="1325563"/>
          </a:xfrm>
        </p:spPr>
        <p:txBody>
          <a:bodyPr>
            <a:noAutofit/>
          </a:bodyPr>
          <a:lstStyle/>
          <a:p>
            <a:r>
              <a:rPr lang="en-US" sz="4800" b="1" dirty="0"/>
              <a:t>What are generally accepted standards of care?</a:t>
            </a:r>
          </a:p>
        </p:txBody>
      </p:sp>
      <p:pic>
        <p:nvPicPr>
          <p:cNvPr id="21" name="Picture 20" descr="A book on a green surface&#10;&#10;Description automatically generated">
            <a:extLst>
              <a:ext uri="{FF2B5EF4-FFF2-40B4-BE49-F238E27FC236}">
                <a16:creationId xmlns:a16="http://schemas.microsoft.com/office/drawing/2014/main" id="{E77FE689-68BA-89A7-D55A-F9E0F9A4D349}"/>
              </a:ext>
            </a:extLst>
          </p:cNvPr>
          <p:cNvPicPr>
            <a:picLocks noChangeAspect="1"/>
          </p:cNvPicPr>
          <p:nvPr/>
        </p:nvPicPr>
        <p:blipFill>
          <a:blip r:embed="rId6"/>
          <a:stretch>
            <a:fillRect/>
          </a:stretch>
        </p:blipFill>
        <p:spPr>
          <a:xfrm rot="5400000">
            <a:off x="4173294" y="1555325"/>
            <a:ext cx="6858000" cy="5143500"/>
          </a:xfrm>
          <a:prstGeom prst="rect">
            <a:avLst/>
          </a:prstGeom>
        </p:spPr>
      </p:pic>
      <p:pic>
        <p:nvPicPr>
          <p:cNvPr id="7" name="Picture 6" descr="A blue and white cover with a blue and white design&#10;&#10;Description automatically generated">
            <a:extLst>
              <a:ext uri="{FF2B5EF4-FFF2-40B4-BE49-F238E27FC236}">
                <a16:creationId xmlns:a16="http://schemas.microsoft.com/office/drawing/2014/main" id="{2484D056-FFFD-425D-D8FF-83FD9CA26A11}"/>
              </a:ext>
            </a:extLst>
          </p:cNvPr>
          <p:cNvPicPr>
            <a:picLocks noChangeAspect="1"/>
          </p:cNvPicPr>
          <p:nvPr/>
        </p:nvPicPr>
        <p:blipFill>
          <a:blip r:embed="rId7"/>
          <a:stretch>
            <a:fillRect/>
          </a:stretch>
        </p:blipFill>
        <p:spPr>
          <a:xfrm rot="243347">
            <a:off x="4874109" y="817808"/>
            <a:ext cx="4280789" cy="6059149"/>
          </a:xfrm>
          <a:prstGeom prst="rect">
            <a:avLst/>
          </a:prstGeom>
        </p:spPr>
      </p:pic>
      <p:pic>
        <p:nvPicPr>
          <p:cNvPr id="17" name="Picture 16" descr="A close-up of a logo&#10;&#10;Description automatically generated">
            <a:extLst>
              <a:ext uri="{FF2B5EF4-FFF2-40B4-BE49-F238E27FC236}">
                <a16:creationId xmlns:a16="http://schemas.microsoft.com/office/drawing/2014/main" id="{696B452E-369B-BF05-F225-ABB6737B20D0}"/>
              </a:ext>
            </a:extLst>
          </p:cNvPr>
          <p:cNvPicPr>
            <a:picLocks noChangeAspect="1"/>
          </p:cNvPicPr>
          <p:nvPr/>
        </p:nvPicPr>
        <p:blipFill>
          <a:blip r:embed="rId8"/>
          <a:stretch>
            <a:fillRect/>
          </a:stretch>
        </p:blipFill>
        <p:spPr>
          <a:xfrm>
            <a:off x="3862235" y="0"/>
            <a:ext cx="5224333" cy="6858000"/>
          </a:xfrm>
          <a:prstGeom prst="rect">
            <a:avLst/>
          </a:prstGeom>
        </p:spPr>
      </p:pic>
      <p:pic>
        <p:nvPicPr>
          <p:cNvPr id="9" name="Picture 8" descr="A blue and green cover with text&#10;&#10;Description automatically generated">
            <a:extLst>
              <a:ext uri="{FF2B5EF4-FFF2-40B4-BE49-F238E27FC236}">
                <a16:creationId xmlns:a16="http://schemas.microsoft.com/office/drawing/2014/main" id="{4E55FF43-69BF-438B-E1C4-3E806CD18C98}"/>
              </a:ext>
            </a:extLst>
          </p:cNvPr>
          <p:cNvPicPr>
            <a:picLocks noChangeAspect="1"/>
          </p:cNvPicPr>
          <p:nvPr/>
        </p:nvPicPr>
        <p:blipFill>
          <a:blip r:embed="rId9"/>
          <a:stretch>
            <a:fillRect/>
          </a:stretch>
        </p:blipFill>
        <p:spPr>
          <a:xfrm>
            <a:off x="5300870" y="1803399"/>
            <a:ext cx="3953057" cy="5136967"/>
          </a:xfrm>
          <a:prstGeom prst="rect">
            <a:avLst/>
          </a:prstGeom>
        </p:spPr>
      </p:pic>
      <p:pic>
        <p:nvPicPr>
          <p:cNvPr id="19" name="Picture 18" descr="A blue cover with green text&#10;&#10;Description automatically generated">
            <a:extLst>
              <a:ext uri="{FF2B5EF4-FFF2-40B4-BE49-F238E27FC236}">
                <a16:creationId xmlns:a16="http://schemas.microsoft.com/office/drawing/2014/main" id="{2BFB0237-C746-7374-2BCF-2C4AD326B432}"/>
              </a:ext>
            </a:extLst>
          </p:cNvPr>
          <p:cNvPicPr>
            <a:picLocks noChangeAspect="1"/>
          </p:cNvPicPr>
          <p:nvPr/>
        </p:nvPicPr>
        <p:blipFill>
          <a:blip r:embed="rId10"/>
          <a:stretch>
            <a:fillRect/>
          </a:stretch>
        </p:blipFill>
        <p:spPr>
          <a:xfrm>
            <a:off x="8975193" y="0"/>
            <a:ext cx="3190240" cy="6858000"/>
          </a:xfrm>
          <a:prstGeom prst="rect">
            <a:avLst/>
          </a:prstGeom>
        </p:spPr>
      </p:pic>
      <p:pic>
        <p:nvPicPr>
          <p:cNvPr id="8" name="Picture 7" descr="A book cover with a photo of a baby&#10;&#10;Description automatically generated">
            <a:extLst>
              <a:ext uri="{FF2B5EF4-FFF2-40B4-BE49-F238E27FC236}">
                <a16:creationId xmlns:a16="http://schemas.microsoft.com/office/drawing/2014/main" id="{CAFCFD4D-E8FA-BBDC-FA2D-9E33B2B1500E}"/>
              </a:ext>
            </a:extLst>
          </p:cNvPr>
          <p:cNvPicPr>
            <a:picLocks noChangeAspect="1"/>
          </p:cNvPicPr>
          <p:nvPr/>
        </p:nvPicPr>
        <p:blipFill>
          <a:blip r:embed="rId3"/>
          <a:stretch>
            <a:fillRect/>
          </a:stretch>
        </p:blipFill>
        <p:spPr>
          <a:xfrm>
            <a:off x="319883" y="2286633"/>
            <a:ext cx="3625631" cy="4389857"/>
          </a:xfrm>
          <a:prstGeom prst="rect">
            <a:avLst/>
          </a:prstGeom>
        </p:spPr>
      </p:pic>
      <p:pic>
        <p:nvPicPr>
          <p:cNvPr id="4" name="Picture 3" descr="A book cover of a blue book&#10;&#10;Description automatically generated">
            <a:extLst>
              <a:ext uri="{FF2B5EF4-FFF2-40B4-BE49-F238E27FC236}">
                <a16:creationId xmlns:a16="http://schemas.microsoft.com/office/drawing/2014/main" id="{66DB9DDB-8A72-2D75-02D4-4823AE087972}"/>
              </a:ext>
            </a:extLst>
          </p:cNvPr>
          <p:cNvPicPr>
            <a:picLocks noChangeAspect="1"/>
          </p:cNvPicPr>
          <p:nvPr/>
        </p:nvPicPr>
        <p:blipFill>
          <a:blip r:embed="rId2"/>
          <a:stretch>
            <a:fillRect/>
          </a:stretch>
        </p:blipFill>
        <p:spPr>
          <a:xfrm>
            <a:off x="1640046" y="1389259"/>
            <a:ext cx="3583064" cy="4692108"/>
          </a:xfrm>
          <a:prstGeom prst="rect">
            <a:avLst/>
          </a:prstGeom>
        </p:spPr>
      </p:pic>
    </p:spTree>
    <p:extLst>
      <p:ext uri="{BB962C8B-B14F-4D97-AF65-F5344CB8AC3E}">
        <p14:creationId xmlns:p14="http://schemas.microsoft.com/office/powerpoint/2010/main" val="2862100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1"/>
                                        </p:tgtEl>
                                        <p:attrNameLst>
                                          <p:attrName>style.visibility</p:attrName>
                                        </p:attrNameLst>
                                      </p:cBhvr>
                                      <p:to>
                                        <p:strVal val="visible"/>
                                      </p:to>
                                    </p:set>
                                    <p:anim calcmode="lin" valueType="num">
                                      <p:cBhvr additive="base">
                                        <p:cTn id="13" dur="500" fill="hold"/>
                                        <p:tgtEl>
                                          <p:spTgt spid="21"/>
                                        </p:tgtEl>
                                        <p:attrNameLst>
                                          <p:attrName>ppt_x</p:attrName>
                                        </p:attrNameLst>
                                      </p:cBhvr>
                                      <p:tavLst>
                                        <p:tav tm="0">
                                          <p:val>
                                            <p:strVal val="#ppt_x"/>
                                          </p:val>
                                        </p:tav>
                                        <p:tav tm="100000">
                                          <p:val>
                                            <p:strVal val="#ppt_x"/>
                                          </p:val>
                                        </p:tav>
                                      </p:tavLst>
                                    </p:anim>
                                    <p:anim calcmode="lin" valueType="num">
                                      <p:cBhvr additive="base">
                                        <p:cTn id="14"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additive="base">
                                        <p:cTn id="25" dur="500" fill="hold"/>
                                        <p:tgtEl>
                                          <p:spTgt spid="17"/>
                                        </p:tgtEl>
                                        <p:attrNameLst>
                                          <p:attrName>ppt_x</p:attrName>
                                        </p:attrNameLst>
                                      </p:cBhvr>
                                      <p:tavLst>
                                        <p:tav tm="0">
                                          <p:val>
                                            <p:strVal val="#ppt_x"/>
                                          </p:val>
                                        </p:tav>
                                        <p:tav tm="100000">
                                          <p:val>
                                            <p:strVal val="#ppt_x"/>
                                          </p:val>
                                        </p:tav>
                                      </p:tavLst>
                                    </p:anim>
                                    <p:anim calcmode="lin" valueType="num">
                                      <p:cBhvr additive="base">
                                        <p:cTn id="26"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500" fill="hold"/>
                                        <p:tgtEl>
                                          <p:spTgt spid="9"/>
                                        </p:tgtEl>
                                        <p:attrNameLst>
                                          <p:attrName>ppt_x</p:attrName>
                                        </p:attrNameLst>
                                      </p:cBhvr>
                                      <p:tavLst>
                                        <p:tav tm="0">
                                          <p:val>
                                            <p:strVal val="#ppt_x"/>
                                          </p:val>
                                        </p:tav>
                                        <p:tav tm="100000">
                                          <p:val>
                                            <p:strVal val="#ppt_x"/>
                                          </p:val>
                                        </p:tav>
                                      </p:tavLst>
                                    </p:anim>
                                    <p:anim calcmode="lin" valueType="num">
                                      <p:cBhvr additive="base">
                                        <p:cTn id="3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11"/>
                                        </p:tgtEl>
                                        <p:attrNameLst>
                                          <p:attrName>style.visibility</p:attrName>
                                        </p:attrNameLst>
                                      </p:cBhvr>
                                      <p:to>
                                        <p:strVal val="visible"/>
                                      </p:to>
                                    </p:set>
                                    <p:anim calcmode="lin" valueType="num">
                                      <p:cBhvr additive="base">
                                        <p:cTn id="37" dur="500" fill="hold"/>
                                        <p:tgtEl>
                                          <p:spTgt spid="11"/>
                                        </p:tgtEl>
                                        <p:attrNameLst>
                                          <p:attrName>ppt_x</p:attrName>
                                        </p:attrNameLst>
                                      </p:cBhvr>
                                      <p:tavLst>
                                        <p:tav tm="0">
                                          <p:val>
                                            <p:strVal val="#ppt_x"/>
                                          </p:val>
                                        </p:tav>
                                        <p:tav tm="100000">
                                          <p:val>
                                            <p:strVal val="#ppt_x"/>
                                          </p:val>
                                        </p:tav>
                                      </p:tavLst>
                                    </p:anim>
                                    <p:anim calcmode="lin" valueType="num">
                                      <p:cBhvr additive="base">
                                        <p:cTn id="3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19"/>
                                        </p:tgtEl>
                                        <p:attrNameLst>
                                          <p:attrName>style.visibility</p:attrName>
                                        </p:attrNameLst>
                                      </p:cBhvr>
                                      <p:to>
                                        <p:strVal val="visible"/>
                                      </p:to>
                                    </p:set>
                                    <p:anim calcmode="lin" valueType="num">
                                      <p:cBhvr additive="base">
                                        <p:cTn id="43" dur="500" fill="hold"/>
                                        <p:tgtEl>
                                          <p:spTgt spid="19"/>
                                        </p:tgtEl>
                                        <p:attrNameLst>
                                          <p:attrName>ppt_x</p:attrName>
                                        </p:attrNameLst>
                                      </p:cBhvr>
                                      <p:tavLst>
                                        <p:tav tm="0">
                                          <p:val>
                                            <p:strVal val="#ppt_x"/>
                                          </p:val>
                                        </p:tav>
                                        <p:tav tm="100000">
                                          <p:val>
                                            <p:strVal val="#ppt_x"/>
                                          </p:val>
                                        </p:tav>
                                      </p:tavLst>
                                    </p:anim>
                                    <p:anim calcmode="lin" valueType="num">
                                      <p:cBhvr additive="base">
                                        <p:cTn id="44"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8"/>
                                        </p:tgtEl>
                                        <p:attrNameLst>
                                          <p:attrName>style.visibility</p:attrName>
                                        </p:attrNameLst>
                                      </p:cBhvr>
                                      <p:to>
                                        <p:strVal val="visible"/>
                                      </p:to>
                                    </p:set>
                                    <p:anim calcmode="lin" valueType="num">
                                      <p:cBhvr additive="base">
                                        <p:cTn id="49" dur="500" fill="hold"/>
                                        <p:tgtEl>
                                          <p:spTgt spid="8"/>
                                        </p:tgtEl>
                                        <p:attrNameLst>
                                          <p:attrName>ppt_x</p:attrName>
                                        </p:attrNameLst>
                                      </p:cBhvr>
                                      <p:tavLst>
                                        <p:tav tm="0">
                                          <p:val>
                                            <p:strVal val="#ppt_x"/>
                                          </p:val>
                                        </p:tav>
                                        <p:tav tm="100000">
                                          <p:val>
                                            <p:strVal val="#ppt_x"/>
                                          </p:val>
                                        </p:tav>
                                      </p:tavLst>
                                    </p:anim>
                                    <p:anim calcmode="lin" valueType="num">
                                      <p:cBhvr additive="base">
                                        <p:cTn id="50"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4"/>
                                        </p:tgtEl>
                                        <p:attrNameLst>
                                          <p:attrName>style.visibility</p:attrName>
                                        </p:attrNameLst>
                                      </p:cBhvr>
                                      <p:to>
                                        <p:strVal val="visible"/>
                                      </p:to>
                                    </p:set>
                                    <p:anim calcmode="lin" valueType="num">
                                      <p:cBhvr additive="base">
                                        <p:cTn id="55" dur="500" fill="hold"/>
                                        <p:tgtEl>
                                          <p:spTgt spid="4"/>
                                        </p:tgtEl>
                                        <p:attrNameLst>
                                          <p:attrName>ppt_x</p:attrName>
                                        </p:attrNameLst>
                                      </p:cBhvr>
                                      <p:tavLst>
                                        <p:tav tm="0">
                                          <p:val>
                                            <p:strVal val="#ppt_x"/>
                                          </p:val>
                                        </p:tav>
                                        <p:tav tm="100000">
                                          <p:val>
                                            <p:strVal val="#ppt_x"/>
                                          </p:val>
                                        </p:tav>
                                      </p:tavLst>
                                    </p:anim>
                                    <p:anim calcmode="lin" valueType="num">
                                      <p:cBhvr additive="base">
                                        <p:cTn id="56"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7B305C-0377-D7B2-2FB7-5847A27B54F9}"/>
              </a:ext>
            </a:extLst>
          </p:cNvPr>
          <p:cNvSpPr>
            <a:spLocks noGrp="1"/>
          </p:cNvSpPr>
          <p:nvPr>
            <p:ph type="title"/>
          </p:nvPr>
        </p:nvSpPr>
        <p:spPr>
          <a:xfrm>
            <a:off x="2797865" y="2511977"/>
            <a:ext cx="6596269" cy="1325563"/>
          </a:xfrm>
        </p:spPr>
        <p:txBody>
          <a:bodyPr>
            <a:normAutofit fontScale="90000"/>
          </a:bodyPr>
          <a:lstStyle/>
          <a:p>
            <a:r>
              <a:rPr lang="en-US" dirty="0"/>
              <a:t>When did our field – ABA for autism – generally agree upon or accept standards for practicing ABA with individuals with autism?</a:t>
            </a:r>
          </a:p>
        </p:txBody>
      </p:sp>
      <p:sp>
        <p:nvSpPr>
          <p:cNvPr id="3" name="Content Placeholder 2">
            <a:extLst>
              <a:ext uri="{FF2B5EF4-FFF2-40B4-BE49-F238E27FC236}">
                <a16:creationId xmlns:a16="http://schemas.microsoft.com/office/drawing/2014/main" id="{C9D0C5D1-D4E6-38F0-31E5-DB180CC49821}"/>
              </a:ext>
            </a:extLst>
          </p:cNvPr>
          <p:cNvSpPr>
            <a:spLocks noGrp="1"/>
          </p:cNvSpPr>
          <p:nvPr>
            <p:ph idx="1"/>
          </p:nvPr>
        </p:nvSpPr>
        <p:spPr>
          <a:xfrm>
            <a:off x="1182756" y="4682331"/>
            <a:ext cx="10515600" cy="4351338"/>
          </a:xfrm>
        </p:spPr>
        <p:txBody>
          <a:bodyPr/>
          <a:lstStyle/>
          <a:p>
            <a:endParaRPr lang="en-US" dirty="0"/>
          </a:p>
        </p:txBody>
      </p:sp>
    </p:spTree>
    <p:extLst>
      <p:ext uri="{BB962C8B-B14F-4D97-AF65-F5344CB8AC3E}">
        <p14:creationId xmlns:p14="http://schemas.microsoft.com/office/powerpoint/2010/main" val="15331423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7B305C-0377-D7B2-2FB7-5847A27B54F9}"/>
              </a:ext>
            </a:extLst>
          </p:cNvPr>
          <p:cNvSpPr>
            <a:spLocks noGrp="1"/>
          </p:cNvSpPr>
          <p:nvPr>
            <p:ph type="title"/>
          </p:nvPr>
        </p:nvSpPr>
        <p:spPr>
          <a:xfrm>
            <a:off x="2797865" y="2511977"/>
            <a:ext cx="6596269" cy="1325563"/>
          </a:xfrm>
        </p:spPr>
        <p:txBody>
          <a:bodyPr>
            <a:normAutofit/>
          </a:bodyPr>
          <a:lstStyle/>
          <a:p>
            <a:r>
              <a:rPr lang="en-US" dirty="0"/>
              <a:t>When did our field articulate those standards?</a:t>
            </a:r>
          </a:p>
        </p:txBody>
      </p:sp>
      <p:sp>
        <p:nvSpPr>
          <p:cNvPr id="3" name="Content Placeholder 2">
            <a:extLst>
              <a:ext uri="{FF2B5EF4-FFF2-40B4-BE49-F238E27FC236}">
                <a16:creationId xmlns:a16="http://schemas.microsoft.com/office/drawing/2014/main" id="{C9D0C5D1-D4E6-38F0-31E5-DB180CC49821}"/>
              </a:ext>
            </a:extLst>
          </p:cNvPr>
          <p:cNvSpPr>
            <a:spLocks noGrp="1"/>
          </p:cNvSpPr>
          <p:nvPr>
            <p:ph idx="1"/>
          </p:nvPr>
        </p:nvSpPr>
        <p:spPr>
          <a:xfrm>
            <a:off x="1182756" y="4682331"/>
            <a:ext cx="10515600" cy="4351338"/>
          </a:xfrm>
        </p:spPr>
        <p:txBody>
          <a:bodyPr/>
          <a:lstStyle/>
          <a:p>
            <a:endParaRPr lang="en-US" dirty="0"/>
          </a:p>
        </p:txBody>
      </p:sp>
    </p:spTree>
    <p:extLst>
      <p:ext uri="{BB962C8B-B14F-4D97-AF65-F5344CB8AC3E}">
        <p14:creationId xmlns:p14="http://schemas.microsoft.com/office/powerpoint/2010/main" val="31275306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7B305C-0377-D7B2-2FB7-5847A27B54F9}"/>
              </a:ext>
            </a:extLst>
          </p:cNvPr>
          <p:cNvSpPr>
            <a:spLocks noGrp="1"/>
          </p:cNvSpPr>
          <p:nvPr>
            <p:ph type="title"/>
          </p:nvPr>
        </p:nvSpPr>
        <p:spPr>
          <a:xfrm>
            <a:off x="2797865" y="2511977"/>
            <a:ext cx="6596269" cy="1325563"/>
          </a:xfrm>
        </p:spPr>
        <p:txBody>
          <a:bodyPr>
            <a:normAutofit fontScale="90000"/>
          </a:bodyPr>
          <a:lstStyle/>
          <a:p>
            <a:r>
              <a:rPr lang="en-US" dirty="0"/>
              <a:t>Why did the BACB decide to put together a workgroup to develop ABA for ASD Practice Guidelines?</a:t>
            </a:r>
          </a:p>
        </p:txBody>
      </p:sp>
      <p:sp>
        <p:nvSpPr>
          <p:cNvPr id="3" name="Content Placeholder 2">
            <a:extLst>
              <a:ext uri="{FF2B5EF4-FFF2-40B4-BE49-F238E27FC236}">
                <a16:creationId xmlns:a16="http://schemas.microsoft.com/office/drawing/2014/main" id="{C9D0C5D1-D4E6-38F0-31E5-DB180CC49821}"/>
              </a:ext>
            </a:extLst>
          </p:cNvPr>
          <p:cNvSpPr>
            <a:spLocks noGrp="1"/>
          </p:cNvSpPr>
          <p:nvPr>
            <p:ph idx="1"/>
          </p:nvPr>
        </p:nvSpPr>
        <p:spPr>
          <a:xfrm>
            <a:off x="1182756" y="4682331"/>
            <a:ext cx="10515600" cy="4351338"/>
          </a:xfrm>
        </p:spPr>
        <p:txBody>
          <a:bodyPr/>
          <a:lstStyle/>
          <a:p>
            <a:endParaRPr lang="en-US" dirty="0"/>
          </a:p>
        </p:txBody>
      </p:sp>
    </p:spTree>
    <p:extLst>
      <p:ext uri="{BB962C8B-B14F-4D97-AF65-F5344CB8AC3E}">
        <p14:creationId xmlns:p14="http://schemas.microsoft.com/office/powerpoint/2010/main" val="15882736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819A166-7571-4003-A6B8-B62034C3ED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38199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solidFill>
              <a:latin typeface="Calibri" panose="020F0502020204030204"/>
            </a:endParaRPr>
          </a:p>
        </p:txBody>
      </p:sp>
      <p:sp>
        <p:nvSpPr>
          <p:cNvPr id="2" name="Title 1">
            <a:extLst>
              <a:ext uri="{FF2B5EF4-FFF2-40B4-BE49-F238E27FC236}">
                <a16:creationId xmlns:a16="http://schemas.microsoft.com/office/drawing/2014/main" id="{38603673-4B23-D475-844E-74A9A2B3DDDA}"/>
              </a:ext>
            </a:extLst>
          </p:cNvPr>
          <p:cNvSpPr>
            <a:spLocks noGrp="1"/>
          </p:cNvSpPr>
          <p:nvPr>
            <p:ph type="title"/>
          </p:nvPr>
        </p:nvSpPr>
        <p:spPr>
          <a:xfrm>
            <a:off x="1917556" y="620392"/>
            <a:ext cx="3055136" cy="5504688"/>
          </a:xfrm>
        </p:spPr>
        <p:txBody>
          <a:bodyPr>
            <a:normAutofit/>
          </a:bodyPr>
          <a:lstStyle/>
          <a:p>
            <a:r>
              <a:rPr lang="en-US" sz="4400" b="1" dirty="0">
                <a:solidFill>
                  <a:schemeClr val="bg1"/>
                </a:solidFill>
              </a:rPr>
              <a:t>The Importance and </a:t>
            </a:r>
            <a:br>
              <a:rPr lang="en-US" sz="4400" b="1" dirty="0">
                <a:solidFill>
                  <a:schemeClr val="bg1"/>
                </a:solidFill>
              </a:rPr>
            </a:br>
            <a:r>
              <a:rPr lang="en-US" sz="4400" b="1" dirty="0">
                <a:solidFill>
                  <a:schemeClr val="bg1"/>
                </a:solidFill>
              </a:rPr>
              <a:t>Legal Significance of Clinical</a:t>
            </a:r>
            <a:br>
              <a:rPr lang="en-US" sz="4400" b="1" dirty="0">
                <a:solidFill>
                  <a:schemeClr val="bg1"/>
                </a:solidFill>
              </a:rPr>
            </a:br>
            <a:r>
              <a:rPr lang="en-US" sz="4400" b="1" dirty="0">
                <a:solidFill>
                  <a:schemeClr val="bg1"/>
                </a:solidFill>
              </a:rPr>
              <a:t>Standards</a:t>
            </a:r>
          </a:p>
        </p:txBody>
      </p:sp>
      <p:graphicFrame>
        <p:nvGraphicFramePr>
          <p:cNvPr id="5" name="Content Placeholder 2">
            <a:extLst>
              <a:ext uri="{FF2B5EF4-FFF2-40B4-BE49-F238E27FC236}">
                <a16:creationId xmlns:a16="http://schemas.microsoft.com/office/drawing/2014/main" id="{ED713672-48BC-8012-E2D6-F8033D62BCB7}"/>
              </a:ext>
            </a:extLst>
          </p:cNvPr>
          <p:cNvGraphicFramePr>
            <a:graphicFrameLocks noGrp="1"/>
          </p:cNvGraphicFramePr>
          <p:nvPr>
            <p:ph idx="1"/>
          </p:nvPr>
        </p:nvGraphicFramePr>
        <p:xfrm>
          <a:off x="5625291" y="620392"/>
          <a:ext cx="4697730" cy="55046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Down Arrow 2">
            <a:extLst>
              <a:ext uri="{FF2B5EF4-FFF2-40B4-BE49-F238E27FC236}">
                <a16:creationId xmlns:a16="http://schemas.microsoft.com/office/drawing/2014/main" id="{1C9CE241-DBFE-FF2C-D9C4-20223AAED5BF}"/>
              </a:ext>
            </a:extLst>
          </p:cNvPr>
          <p:cNvSpPr/>
          <p:nvPr/>
        </p:nvSpPr>
        <p:spPr>
          <a:xfrm>
            <a:off x="7731840" y="1524000"/>
            <a:ext cx="484632" cy="5334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Calibri" panose="020F0502020204030204"/>
            </a:endParaRPr>
          </a:p>
        </p:txBody>
      </p:sp>
      <p:sp>
        <p:nvSpPr>
          <p:cNvPr id="4" name="Down Arrow 3">
            <a:extLst>
              <a:ext uri="{FF2B5EF4-FFF2-40B4-BE49-F238E27FC236}">
                <a16:creationId xmlns:a16="http://schemas.microsoft.com/office/drawing/2014/main" id="{5E2479AB-23C2-4C6D-42C2-52B5FA59DE61}"/>
              </a:ext>
            </a:extLst>
          </p:cNvPr>
          <p:cNvSpPr/>
          <p:nvPr/>
        </p:nvSpPr>
        <p:spPr>
          <a:xfrm>
            <a:off x="7731840" y="3106036"/>
            <a:ext cx="484632" cy="5334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Calibri" panose="020F0502020204030204"/>
            </a:endParaRPr>
          </a:p>
        </p:txBody>
      </p:sp>
      <p:sp>
        <p:nvSpPr>
          <p:cNvPr id="6" name="Down Arrow 5">
            <a:extLst>
              <a:ext uri="{FF2B5EF4-FFF2-40B4-BE49-F238E27FC236}">
                <a16:creationId xmlns:a16="http://schemas.microsoft.com/office/drawing/2014/main" id="{E87B429C-4390-1DE0-1E8F-21F78B2FEA5D}"/>
              </a:ext>
            </a:extLst>
          </p:cNvPr>
          <p:cNvSpPr/>
          <p:nvPr/>
        </p:nvSpPr>
        <p:spPr>
          <a:xfrm>
            <a:off x="7722194" y="4688072"/>
            <a:ext cx="484632" cy="5334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Calibri" panose="020F0502020204030204"/>
            </a:endParaRPr>
          </a:p>
        </p:txBody>
      </p:sp>
    </p:spTree>
    <p:extLst>
      <p:ext uri="{BB962C8B-B14F-4D97-AF65-F5344CB8AC3E}">
        <p14:creationId xmlns:p14="http://schemas.microsoft.com/office/powerpoint/2010/main" val="17740744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86AFEE0-FADE-A946-B31B-BF36E606618C}"/>
              </a:ext>
            </a:extLst>
          </p:cNvPr>
          <p:cNvSpPr>
            <a:spLocks noGrp="1"/>
          </p:cNvSpPr>
          <p:nvPr>
            <p:ph type="sldNum" sz="quarter" idx="12"/>
          </p:nvPr>
        </p:nvSpPr>
        <p:spPr/>
        <p:txBody>
          <a:bodyPr/>
          <a:lstStyle/>
          <a:p>
            <a:pPr fontAlgn="base">
              <a:spcBef>
                <a:spcPct val="0"/>
              </a:spcBef>
              <a:spcAft>
                <a:spcPct val="0"/>
              </a:spcAft>
              <a:defRPr/>
            </a:pPr>
            <a:fld id="{1F7741F2-A7DA-1042-93CB-BB9244477232}" type="slidenum">
              <a:rPr lang="en-US">
                <a:solidFill>
                  <a:prstClr val="black">
                    <a:tint val="75000"/>
                  </a:prstClr>
                </a:solidFill>
                <a:latin typeface="Arial" charset="0"/>
                <a:cs typeface="Arial" charset="0"/>
              </a:rPr>
              <a:pPr fontAlgn="base">
                <a:spcBef>
                  <a:spcPct val="0"/>
                </a:spcBef>
                <a:spcAft>
                  <a:spcPct val="0"/>
                </a:spcAft>
                <a:defRPr/>
              </a:pPr>
              <a:t>8</a:t>
            </a:fld>
            <a:endParaRPr lang="en-US">
              <a:solidFill>
                <a:prstClr val="black">
                  <a:tint val="75000"/>
                </a:prstClr>
              </a:solidFill>
              <a:latin typeface="Arial" charset="0"/>
              <a:cs typeface="Arial" charset="0"/>
            </a:endParaRPr>
          </a:p>
        </p:txBody>
      </p:sp>
      <p:pic>
        <p:nvPicPr>
          <p:cNvPr id="202754" name="Picture 3" descr="A close up of a map&#10;&#10;Description automatically generated">
            <a:extLst>
              <a:ext uri="{FF2B5EF4-FFF2-40B4-BE49-F238E27FC236}">
                <a16:creationId xmlns:a16="http://schemas.microsoft.com/office/drawing/2014/main" id="{0383DD3C-9D44-454F-B24E-E23478547EE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72784" y="143246"/>
            <a:ext cx="8238016" cy="657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31682609"/>
      </p:ext>
    </p:extLst>
  </p:cSld>
  <p:clrMapOvr>
    <a:masterClrMapping/>
  </p:clrMapOvr>
  <p:transition spd="slow">
    <p:sndAc>
      <p:stSnd>
        <p:snd r:embed="rId3" name="camera.wav"/>
      </p:stSnd>
    </p:sndAc>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7B305C-0377-D7B2-2FB7-5847A27B54F9}"/>
              </a:ext>
            </a:extLst>
          </p:cNvPr>
          <p:cNvSpPr>
            <a:spLocks noGrp="1"/>
          </p:cNvSpPr>
          <p:nvPr>
            <p:ph type="title"/>
          </p:nvPr>
        </p:nvSpPr>
        <p:spPr>
          <a:xfrm>
            <a:off x="2797865" y="2511977"/>
            <a:ext cx="6596269" cy="1325563"/>
          </a:xfrm>
        </p:spPr>
        <p:txBody>
          <a:bodyPr>
            <a:normAutofit/>
          </a:bodyPr>
          <a:lstStyle/>
          <a:p>
            <a:r>
              <a:rPr lang="en-US" dirty="0"/>
              <a:t>When did everyone start following the ABA for ASD Practice Guidelines?</a:t>
            </a:r>
          </a:p>
        </p:txBody>
      </p:sp>
      <p:sp>
        <p:nvSpPr>
          <p:cNvPr id="3" name="Content Placeholder 2">
            <a:extLst>
              <a:ext uri="{FF2B5EF4-FFF2-40B4-BE49-F238E27FC236}">
                <a16:creationId xmlns:a16="http://schemas.microsoft.com/office/drawing/2014/main" id="{C9D0C5D1-D4E6-38F0-31E5-DB180CC49821}"/>
              </a:ext>
            </a:extLst>
          </p:cNvPr>
          <p:cNvSpPr>
            <a:spLocks noGrp="1"/>
          </p:cNvSpPr>
          <p:nvPr>
            <p:ph idx="1"/>
          </p:nvPr>
        </p:nvSpPr>
        <p:spPr>
          <a:xfrm>
            <a:off x="1182756" y="4682331"/>
            <a:ext cx="10515600" cy="4351338"/>
          </a:xfrm>
        </p:spPr>
        <p:txBody>
          <a:bodyPr/>
          <a:lstStyle/>
          <a:p>
            <a:endParaRPr lang="en-US" dirty="0"/>
          </a:p>
        </p:txBody>
      </p:sp>
    </p:spTree>
    <p:extLst>
      <p:ext uri="{BB962C8B-B14F-4D97-AF65-F5344CB8AC3E}">
        <p14:creationId xmlns:p14="http://schemas.microsoft.com/office/powerpoint/2010/main" val="11294844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Ion Boardroom">
  <a:themeElements>
    <a:clrScheme name="Ion Boardroom">
      <a:dk1>
        <a:sysClr val="windowText" lastClr="000000"/>
      </a:dk1>
      <a:lt1>
        <a:sysClr val="window" lastClr="FFFFFF"/>
      </a:lt1>
      <a:dk2>
        <a:srgbClr val="0E5580"/>
      </a:dk2>
      <a:lt2>
        <a:srgbClr val="EBEBEB"/>
      </a:lt2>
      <a:accent1>
        <a:srgbClr val="ACD433"/>
      </a:accent1>
      <a:accent2>
        <a:srgbClr val="E6C133"/>
      </a:accent2>
      <a:accent3>
        <a:srgbClr val="EF7A24"/>
      </a:accent3>
      <a:accent4>
        <a:srgbClr val="5AA0F5"/>
      </a:accent4>
      <a:accent5>
        <a:srgbClr val="75CEEC"/>
      </a:accent5>
      <a:accent6>
        <a:srgbClr val="65D6A0"/>
      </a:accent6>
      <a:hlink>
        <a:srgbClr val="C4E46E"/>
      </a:hlink>
      <a:folHlink>
        <a:srgbClr val="BDE0FB"/>
      </a:folHlink>
    </a:clrScheme>
    <a:fontScheme name="Ion Boardroom">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Boardroom">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2000"/>
                <a:hueMod val="96000"/>
                <a:satMod val="128000"/>
                <a:lumMod val="114000"/>
              </a:schemeClr>
            </a:gs>
            <a:gs pos="100000">
              <a:schemeClr val="phClr">
                <a:shade val="62000"/>
                <a:hueMod val="100000"/>
                <a:satMod val="134000"/>
                <a:lumMod val="56000"/>
              </a:schemeClr>
            </a:gs>
          </a:gsLst>
          <a:path path="circle">
            <a:fillToRect l="45000" t="65000" r="125000" b="100000"/>
          </a:path>
        </a:gradFill>
        <a:blipFill rotWithShape="1">
          <a:blip xmlns:r="http://schemas.openxmlformats.org/officeDocument/2006/relationships" r:embed="rId1">
            <a:duotone>
              <a:schemeClr val="phClr">
                <a:shade val="62000"/>
                <a:hueMod val="108000"/>
                <a:satMod val="164000"/>
                <a:lumMod val="69000"/>
              </a:schemeClr>
              <a:schemeClr val="phClr">
                <a:tint val="96000"/>
                <a:hueMod val="90000"/>
                <a:satMod val="130000"/>
                <a:lumMod val="134000"/>
              </a:schemeClr>
            </a:duotone>
          </a:blip>
          <a:stretch/>
        </a:blipFill>
      </a:bgFillStyleLst>
    </a:fmtScheme>
  </a:themeElements>
  <a:objectDefaults/>
  <a:extraClrSchemeLst/>
  <a:extLst>
    <a:ext uri="{05A4C25C-085E-4340-85A3-A5531E510DB2}">
      <thm15:themeFamily xmlns:thm15="http://schemas.microsoft.com/office/thememl/2012/main" name="Ion Boardroom" id="{FC33163D-4339-46B1-8EED-24C834239D99}" vid="{A3AB87EF-B655-4FFF-8D05-F333AD7F2789}"/>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258</TotalTime>
  <Words>1640</Words>
  <Application>Microsoft Macintosh PowerPoint</Application>
  <PresentationFormat>Widescreen</PresentationFormat>
  <Paragraphs>183</Paragraphs>
  <Slides>28</Slides>
  <Notes>20</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28</vt:i4>
      </vt:variant>
    </vt:vector>
  </HeadingPairs>
  <TitlesOfParts>
    <vt:vector size="46" baseType="lpstr">
      <vt:lpstr>Arial</vt:lpstr>
      <vt:lpstr>Arial Narrow</vt:lpstr>
      <vt:lpstr>Avenir Book</vt:lpstr>
      <vt:lpstr>Calibri</vt:lpstr>
      <vt:lpstr>Calibri Light</vt:lpstr>
      <vt:lpstr>Century Gothic</vt:lpstr>
      <vt:lpstr>Gill Sans</vt:lpstr>
      <vt:lpstr>Open Sans</vt:lpstr>
      <vt:lpstr>Segoe UI</vt:lpstr>
      <vt:lpstr>TimesNewRomanPS</vt:lpstr>
      <vt:lpstr>TimesNewRomanPSMT</vt:lpstr>
      <vt:lpstr>Wingdings 3</vt:lpstr>
      <vt:lpstr>12_Office Theme</vt:lpstr>
      <vt:lpstr>6_Office Theme</vt:lpstr>
      <vt:lpstr>4_Office Theme</vt:lpstr>
      <vt:lpstr>38_Office Theme</vt:lpstr>
      <vt:lpstr>Ion Boardroom</vt:lpstr>
      <vt:lpstr>Diapositiva de think-cell</vt:lpstr>
      <vt:lpstr>PowerPoint Presentation</vt:lpstr>
      <vt:lpstr>What Are Generally Accepted Standards of Care?</vt:lpstr>
      <vt:lpstr>What are generally accepted standards of care?</vt:lpstr>
      <vt:lpstr>When did our field – ABA for autism – generally agree upon or accept standards for practicing ABA with individuals with autism?</vt:lpstr>
      <vt:lpstr>When did our field articulate those standards?</vt:lpstr>
      <vt:lpstr>Why did the BACB decide to put together a workgroup to develop ABA for ASD Practice Guidelines?</vt:lpstr>
      <vt:lpstr>The Importance and  Legal Significance of Clinical Standards</vt:lpstr>
      <vt:lpstr>PowerPoint Presentation</vt:lpstr>
      <vt:lpstr>When did everyone start following the ABA for ASD Practice Guidelines?</vt:lpstr>
      <vt:lpstr>The Importance and  Legal Significance of Clinical Standards</vt:lpstr>
      <vt:lpstr>Wit v. United Behavioral Health</vt:lpstr>
      <vt:lpstr>District Court’s Liability Ruling</vt:lpstr>
      <vt:lpstr>The Importance and  Legal Significance of Clinical Standards</vt:lpstr>
      <vt:lpstr>SB 855 California</vt:lpstr>
      <vt:lpstr>Ramstad Model Legislation – The Kennedy Forum </vt:lpstr>
      <vt:lpstr>The Importance and  Legal Significance of Clinical Standards</vt:lpstr>
      <vt:lpstr>PowerPoint Presentation</vt:lpstr>
      <vt:lpstr>Standards Produced by Nonprofits</vt:lpstr>
      <vt:lpstr>PowerPoint Presentation</vt:lpstr>
      <vt:lpstr>Standards Produced by Nonprofits</vt:lpstr>
      <vt:lpstr>PowerPoint Presentation</vt:lpstr>
      <vt:lpstr>PowerPoint Presentation</vt:lpstr>
      <vt:lpstr>Standards Produced by Nonprofits</vt:lpstr>
      <vt:lpstr>PowerPoint Presentation</vt:lpstr>
      <vt:lpstr>Standards Produced by Nonprofits</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orri Unumb</dc:creator>
  <cp:lastModifiedBy>Cranford, Avery</cp:lastModifiedBy>
  <cp:revision>8</cp:revision>
  <dcterms:created xsi:type="dcterms:W3CDTF">2023-10-04T13:09:37Z</dcterms:created>
  <dcterms:modified xsi:type="dcterms:W3CDTF">2023-11-08T21:58:29Z</dcterms:modified>
</cp:coreProperties>
</file>